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47" r:id="rId2"/>
  </p:sldMasterIdLst>
  <p:notesMasterIdLst>
    <p:notesMasterId r:id="rId26"/>
  </p:notesMasterIdLst>
  <p:handoutMasterIdLst>
    <p:handoutMasterId r:id="rId27"/>
  </p:handoutMasterIdLst>
  <p:sldIdLst>
    <p:sldId id="328" r:id="rId3"/>
    <p:sldId id="359" r:id="rId4"/>
    <p:sldId id="293" r:id="rId5"/>
    <p:sldId id="378" r:id="rId6"/>
    <p:sldId id="313" r:id="rId7"/>
    <p:sldId id="288" r:id="rId8"/>
    <p:sldId id="376" r:id="rId9"/>
    <p:sldId id="361" r:id="rId10"/>
    <p:sldId id="379" r:id="rId11"/>
    <p:sldId id="380" r:id="rId12"/>
    <p:sldId id="362" r:id="rId13"/>
    <p:sldId id="364" r:id="rId14"/>
    <p:sldId id="360" r:id="rId15"/>
    <p:sldId id="290" r:id="rId16"/>
    <p:sldId id="295" r:id="rId17"/>
    <p:sldId id="305" r:id="rId18"/>
    <p:sldId id="310" r:id="rId19"/>
    <p:sldId id="321" r:id="rId20"/>
    <p:sldId id="317" r:id="rId21"/>
    <p:sldId id="319" r:id="rId22"/>
    <p:sldId id="323" r:id="rId23"/>
    <p:sldId id="324" r:id="rId24"/>
    <p:sldId id="314" r:id="rId25"/>
  </p:sldIdLst>
  <p:sldSz cx="9144000" cy="6858000" type="screen4x3"/>
  <p:notesSz cx="7099300" cy="10234613"/>
  <p:custDataLst>
    <p:tags r:id="rId2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678779F-10EE-46C4-877B-C1D5DF6FC2D2}">
          <p14:sldIdLst>
            <p14:sldId id="328"/>
            <p14:sldId id="359"/>
            <p14:sldId id="293"/>
            <p14:sldId id="378"/>
            <p14:sldId id="313"/>
            <p14:sldId id="288"/>
            <p14:sldId id="376"/>
            <p14:sldId id="361"/>
            <p14:sldId id="379"/>
            <p14:sldId id="380"/>
            <p14:sldId id="362"/>
            <p14:sldId id="364"/>
            <p14:sldId id="360"/>
            <p14:sldId id="290"/>
            <p14:sldId id="295"/>
            <p14:sldId id="305"/>
            <p14:sldId id="310"/>
            <p14:sldId id="321"/>
            <p14:sldId id="317"/>
            <p14:sldId id="319"/>
            <p14:sldId id="323"/>
            <p14:sldId id="324"/>
            <p14:sldId id="3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2" pos="567" userDrawn="1">
          <p15:clr>
            <a:srgbClr val="A4A3A4"/>
          </p15:clr>
        </p15:guide>
        <p15:guide id="3" orient="horz" pos="4050">
          <p15:clr>
            <a:srgbClr val="A4A3A4"/>
          </p15:clr>
        </p15:guide>
        <p15:guide id="4" orient="horz" pos="4041">
          <p15:clr>
            <a:srgbClr val="A4A3A4"/>
          </p15:clr>
        </p15:guide>
        <p15:guide id="5" orient="horz" pos="674">
          <p15:clr>
            <a:srgbClr val="A4A3A4"/>
          </p15:clr>
        </p15:guide>
        <p15:guide id="6" orient="horz" pos="3826">
          <p15:clr>
            <a:srgbClr val="A4A3A4"/>
          </p15:clr>
        </p15:guide>
        <p15:guide id="7" pos="5332">
          <p15:clr>
            <a:srgbClr val="A4A3A4"/>
          </p15:clr>
        </p15:guide>
        <p15:guide id="8" pos="3519">
          <p15:clr>
            <a:srgbClr val="A4A3A4"/>
          </p15:clr>
        </p15:guide>
        <p15:guide id="9" orient="horz" pos="895">
          <p15:clr>
            <a:srgbClr val="A4A3A4"/>
          </p15:clr>
        </p15:guide>
        <p15:guide id="10" orient="horz" pos="176">
          <p15:clr>
            <a:srgbClr val="A4A3A4"/>
          </p15:clr>
        </p15:guide>
        <p15:guide id="11" orient="horz" pos="4158">
          <p15:clr>
            <a:srgbClr val="A4A3A4"/>
          </p15:clr>
        </p15:guide>
        <p15:guide id="12" orient="horz" pos="3836">
          <p15:clr>
            <a:srgbClr val="A4A3A4"/>
          </p15:clr>
        </p15:guide>
        <p15:guide id="13" orient="horz" pos="2792">
          <p15:clr>
            <a:srgbClr val="A4A3A4"/>
          </p15:clr>
        </p15:guide>
        <p15:guide id="14" pos="2921">
          <p15:clr>
            <a:srgbClr val="A4A3A4"/>
          </p15:clr>
        </p15:guide>
        <p15:guide id="15" pos="578">
          <p15:clr>
            <a:srgbClr val="A4A3A4"/>
          </p15:clr>
        </p15:guide>
        <p15:guide id="16" pos="2998">
          <p15:clr>
            <a:srgbClr val="A4A3A4"/>
          </p15:clr>
        </p15:guide>
        <p15:guide id="17" pos="307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400"/>
    <a:srgbClr val="0A2864"/>
    <a:srgbClr val="CEE199"/>
    <a:srgbClr val="9DA9C4"/>
    <a:srgbClr val="C4CBDA"/>
    <a:srgbClr val="CED4E0"/>
    <a:srgbClr val="E6E9EF"/>
    <a:srgbClr val="1389A1"/>
    <a:srgbClr val="F200A1"/>
    <a:srgbClr val="C35A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24" autoAdjust="0"/>
    <p:restoredTop sz="94601" autoAdjust="0"/>
  </p:normalViewPr>
  <p:slideViewPr>
    <p:cSldViewPr snapToGrid="0" snapToObjects="1" showGuides="1">
      <p:cViewPr varScale="1">
        <p:scale>
          <a:sx n="79" d="100"/>
          <a:sy n="79" d="100"/>
        </p:scale>
        <p:origin x="1709" y="72"/>
      </p:cViewPr>
      <p:guideLst>
        <p:guide orient="horz" pos="890"/>
        <p:guide pos="567"/>
        <p:guide orient="horz" pos="4050"/>
        <p:guide orient="horz" pos="4041"/>
        <p:guide orient="horz" pos="674"/>
        <p:guide orient="horz" pos="3826"/>
        <p:guide pos="5332"/>
        <p:guide pos="3519"/>
        <p:guide orient="horz" pos="895"/>
        <p:guide orient="horz" pos="176"/>
        <p:guide orient="horz" pos="4158"/>
        <p:guide orient="horz" pos="3836"/>
        <p:guide orient="horz" pos="2792"/>
        <p:guide pos="2921"/>
        <p:guide pos="578"/>
        <p:guide pos="2998"/>
        <p:guide pos="30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0688" y="1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1497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0688" y="9721497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D54E65F-8DCD-4228-9D6C-0537292E94BB}" type="slidenum">
              <a:rPr lang="de-DE" altLang="de-DE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94260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017" tIns="48509" rIns="97017" bIns="48509" numCol="1" anchor="t" anchorCtr="0" compatLnSpc="1">
            <a:prstTxWarp prst="textNoShape">
              <a:avLst/>
            </a:prstTxWarp>
          </a:bodyPr>
          <a:lstStyle>
            <a:lvl1pPr defTabSz="970718"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688" y="1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017" tIns="48509" rIns="97017" bIns="48509" numCol="1" anchor="t" anchorCtr="0" compatLnSpc="1">
            <a:prstTxWarp prst="textNoShape">
              <a:avLst/>
            </a:prstTxWarp>
          </a:bodyPr>
          <a:lstStyle>
            <a:lvl1pPr algn="r" defTabSz="970718"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8967" y="4860747"/>
            <a:ext cx="5681369" cy="4605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017" tIns="48509" rIns="97017" bIns="485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1497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017" tIns="48509" rIns="97017" bIns="48509" numCol="1" anchor="b" anchorCtr="0" compatLnSpc="1">
            <a:prstTxWarp prst="textNoShape">
              <a:avLst/>
            </a:prstTxWarp>
          </a:bodyPr>
          <a:lstStyle>
            <a:lvl1pPr defTabSz="970718"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688" y="9721497"/>
            <a:ext cx="3077006" cy="511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7017" tIns="48509" rIns="97017" bIns="48509" numCol="1" anchor="b" anchorCtr="0" compatLnSpc="1">
            <a:prstTxWarp prst="textNoShape">
              <a:avLst/>
            </a:prstTxWarp>
          </a:bodyPr>
          <a:lstStyle>
            <a:lvl1pPr algn="r" defTabSz="970718">
              <a:defRPr sz="1200"/>
            </a:lvl1pPr>
          </a:lstStyle>
          <a:p>
            <a:fld id="{088046A6-66FB-4A17-ACEC-AC221BE1CD84}" type="slidenum">
              <a:rPr lang="de-DE" altLang="de-DE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572407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7596336" y="5733256"/>
            <a:ext cx="1440160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9144000" cy="6309320"/>
          </a:xfrm>
          <a:blipFill dpi="0" rotWithShape="1">
            <a:blip r:embed="rId2"/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900000" y="5850000"/>
            <a:ext cx="6264288" cy="349276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2337163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3771391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00113" y="0"/>
            <a:ext cx="7559675" cy="10525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860000" y="1412875"/>
            <a:ext cx="4284000" cy="244792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select pictur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900113" y="1412875"/>
            <a:ext cx="3736975" cy="467677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106812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90" userDrawn="1">
          <p15:clr>
            <a:srgbClr val="FBAE40"/>
          </p15:clr>
        </p15:guide>
        <p15:guide id="2" pos="567" userDrawn="1">
          <p15:clr>
            <a:srgbClr val="FBAE40"/>
          </p15:clr>
        </p15:guide>
        <p15:guide id="3" pos="2903" userDrawn="1">
          <p15:clr>
            <a:srgbClr val="FBAE40"/>
          </p15:clr>
        </p15:guide>
        <p15:guide id="4" orient="horz" pos="347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00113" y="0"/>
            <a:ext cx="7559675" cy="1052513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900000" y="1412875"/>
            <a:ext cx="8244000" cy="3006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select 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00000" y="4478400"/>
            <a:ext cx="7560000" cy="1580400"/>
          </a:xfrm>
        </p:spPr>
        <p:txBody>
          <a:bodyPr/>
          <a:lstStyle>
            <a:lvl1pPr marL="187200" indent="-1872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3pPr marL="177800" indent="0">
              <a:buNone/>
              <a:defRPr/>
            </a:lvl3pPr>
          </a:lstStyle>
          <a:p>
            <a:pPr lvl="0"/>
            <a:r>
              <a:rPr lang="en-GB" altLang="de-DE" noProof="0" dirty="0"/>
              <a:t>Click to edit text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5330760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Nadpis, 1 velký a 2 malé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98525" y="719138"/>
            <a:ext cx="7772400" cy="1143000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98525" y="1889125"/>
            <a:ext cx="3810000" cy="3959225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860925" y="1889125"/>
            <a:ext cx="3810000" cy="1903413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860925" y="3944938"/>
            <a:ext cx="3810000" cy="1903412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3664021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7596336" y="5733256"/>
            <a:ext cx="1440160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9144000" cy="6309320"/>
          </a:xfrm>
          <a:blipFill dpi="0" rotWithShape="1">
            <a:blip r:embed="rId2"/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900000" y="5850000"/>
            <a:ext cx="6264288" cy="349276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10294739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or print (o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" t="10725" r="21778" b="242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0848"/>
            <a:ext cx="9144000" cy="1509795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7884368" y="5967246"/>
            <a:ext cx="936104" cy="630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898525" y="3242171"/>
            <a:ext cx="7558088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00113" y="4375868"/>
            <a:ext cx="7632700" cy="71913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370" y="5754443"/>
            <a:ext cx="950573" cy="42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455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0848"/>
            <a:ext cx="9144000" cy="1509795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898525" y="3242171"/>
            <a:ext cx="7558088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120" y="6167968"/>
            <a:ext cx="571266" cy="2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6249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900113" y="1420813"/>
            <a:ext cx="7559675" cy="4668837"/>
          </a:xfrm>
        </p:spPr>
        <p:txBody>
          <a:bodyPr/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23185581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1412875"/>
            <a:ext cx="7559675" cy="4652963"/>
          </a:xfrm>
        </p:spPr>
        <p:txBody>
          <a:bodyPr/>
          <a:lstStyle>
            <a:lvl1pPr marL="187200" indent="-187200">
              <a:buClr>
                <a:schemeClr val="bg2"/>
              </a:buClr>
              <a:buFont typeface="Wingdings" panose="05000000000000000000" pitchFamily="2" charset="2"/>
              <a:buChar char="§"/>
              <a:defRPr sz="1800" b="1">
                <a:solidFill>
                  <a:schemeClr val="bg2"/>
                </a:solidFill>
              </a:defRPr>
            </a:lvl1pPr>
            <a:lvl2pPr>
              <a:buClr>
                <a:schemeClr val="tx2"/>
              </a:buClr>
              <a:defRPr sz="18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noProof="0" dirty="0"/>
              <a:t>Level 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1590234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900113" y="1420813"/>
            <a:ext cx="3736975" cy="4668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759325" y="1420813"/>
            <a:ext cx="3700463" cy="4668837"/>
          </a:xfrm>
        </p:spPr>
        <p:txBody>
          <a:bodyPr/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309122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or print (o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" t="10725" r="21778" b="242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0848"/>
            <a:ext cx="9144000" cy="1509795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7884368" y="5967246"/>
            <a:ext cx="936104" cy="630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898525" y="3242171"/>
            <a:ext cx="7558088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900113" y="4375868"/>
            <a:ext cx="7632700" cy="71913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370" y="5754443"/>
            <a:ext cx="950573" cy="42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2974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549275"/>
            <a:ext cx="6768231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0A2864"/>
                </a:solidFill>
              </a:defRPr>
            </a:lvl1pPr>
          </a:lstStyle>
          <a:p>
            <a:pPr lvl="0"/>
            <a:r>
              <a:rPr lang="en-GB" noProof="0" dirty="0"/>
              <a:t>»Click to edit highlighted text passage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733125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text (o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549275"/>
            <a:ext cx="6768231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84B400"/>
                </a:solidFill>
              </a:defRPr>
            </a:lvl1pPr>
          </a:lstStyle>
          <a:p>
            <a:pPr lvl="0"/>
            <a:r>
              <a:rPr lang="en-GB" noProof="0" dirty="0"/>
              <a:t>»Click to edit highlighted text passage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766671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23312276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914046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00113" y="0"/>
            <a:ext cx="7559675" cy="105251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4860000" y="1412875"/>
            <a:ext cx="4284000" cy="244792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select pictur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900113" y="1412875"/>
            <a:ext cx="3736975" cy="467677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25232339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ig 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00113" y="0"/>
            <a:ext cx="7559675" cy="1052513"/>
          </a:xfrm>
        </p:spPr>
        <p:txBody>
          <a:bodyPr/>
          <a:lstStyle/>
          <a:p>
            <a:r>
              <a:rPr lang="en-GB" noProof="0" dirty="0"/>
              <a:t>Click to edit title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900000" y="1412875"/>
            <a:ext cx="8244000" cy="3006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select 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00000" y="4478400"/>
            <a:ext cx="7560000" cy="1580400"/>
          </a:xfrm>
        </p:spPr>
        <p:txBody>
          <a:bodyPr/>
          <a:lstStyle>
            <a:lvl1pPr marL="187200" indent="-1872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3pPr marL="177800" indent="0">
              <a:buNone/>
              <a:defRPr/>
            </a:lvl3pPr>
          </a:lstStyle>
          <a:p>
            <a:pPr lvl="0"/>
            <a:r>
              <a:rPr lang="en-GB" altLang="de-DE" noProof="0" dirty="0"/>
              <a:t>Click to edit text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660998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Nadpis, 1 velký a 2 malé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98525" y="719138"/>
            <a:ext cx="7772400" cy="1143000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98525" y="1889125"/>
            <a:ext cx="3810000" cy="3959225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860925" y="1889125"/>
            <a:ext cx="3810000" cy="1903413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860925" y="3944938"/>
            <a:ext cx="3810000" cy="1903412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8778704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0848"/>
            <a:ext cx="9144000" cy="1509795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898525" y="3242171"/>
            <a:ext cx="7558088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120" y="6167968"/>
            <a:ext cx="571266" cy="2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198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61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900113" y="1420813"/>
            <a:ext cx="7559675" cy="4668837"/>
          </a:xfrm>
        </p:spPr>
        <p:txBody>
          <a:bodyPr/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422193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1412875"/>
            <a:ext cx="7559675" cy="4652963"/>
          </a:xfrm>
        </p:spPr>
        <p:txBody>
          <a:bodyPr/>
          <a:lstStyle>
            <a:lvl1pPr marL="187200" indent="-187200">
              <a:buClr>
                <a:schemeClr val="bg2"/>
              </a:buClr>
              <a:buFont typeface="Wingdings" panose="05000000000000000000" pitchFamily="2" charset="2"/>
              <a:buChar char="§"/>
              <a:defRPr sz="1800" b="1">
                <a:solidFill>
                  <a:schemeClr val="bg2"/>
                </a:solidFill>
              </a:defRPr>
            </a:lvl1pPr>
            <a:lvl2pPr>
              <a:buClr>
                <a:schemeClr val="tx2"/>
              </a:buClr>
              <a:defRPr sz="18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noProof="0" dirty="0"/>
              <a:t>Level 2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559240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900113" y="1420813"/>
            <a:ext cx="3736975" cy="4668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759325" y="1420813"/>
            <a:ext cx="3700463" cy="4668837"/>
          </a:xfrm>
        </p:spPr>
        <p:txBody>
          <a:bodyPr/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785220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549275"/>
            <a:ext cx="6768231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0A2864"/>
                </a:solidFill>
              </a:defRPr>
            </a:lvl1pPr>
          </a:lstStyle>
          <a:p>
            <a:pPr lvl="0"/>
            <a:r>
              <a:rPr lang="en-GB" noProof="0" dirty="0"/>
              <a:t>»Click to edit highlighted text passage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284059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ed text (o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0113" y="549275"/>
            <a:ext cx="6768231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84B400"/>
                </a:solidFill>
              </a:defRPr>
            </a:lvl1pPr>
          </a:lstStyle>
          <a:p>
            <a:pPr lvl="0"/>
            <a:r>
              <a:rPr lang="en-GB" noProof="0" dirty="0"/>
              <a:t>»Click to edit highlighted text passage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09362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516406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w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07397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5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900113" y="0"/>
            <a:ext cx="7559675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900113" y="1412874"/>
            <a:ext cx="7559675" cy="46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7" name="Rectangle 30"/>
          <p:cNvSpPr>
            <a:spLocks noChangeArrowheads="1"/>
          </p:cNvSpPr>
          <p:nvPr/>
        </p:nvSpPr>
        <p:spPr bwMode="gray">
          <a:xfrm>
            <a:off x="9252520" y="2604889"/>
            <a:ext cx="360362" cy="360362"/>
          </a:xfrm>
          <a:prstGeom prst="rect">
            <a:avLst/>
          </a:prstGeom>
          <a:solidFill>
            <a:srgbClr val="F7CF66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7</a:t>
            </a:r>
          </a:p>
          <a:p>
            <a:pPr algn="ctr"/>
            <a:r>
              <a:rPr lang="en-GB" sz="800" noProof="0" dirty="0"/>
              <a:t>207</a:t>
            </a:r>
          </a:p>
          <a:p>
            <a:pPr algn="ctr"/>
            <a:r>
              <a:rPr lang="en-GB" sz="800" noProof="0" dirty="0"/>
              <a:t>102</a:t>
            </a:r>
            <a:endParaRPr lang="en-GB" noProof="0" dirty="0"/>
          </a:p>
        </p:txBody>
      </p:sp>
      <p:sp>
        <p:nvSpPr>
          <p:cNvPr id="8" name="Rectangle 31"/>
          <p:cNvSpPr>
            <a:spLocks noChangeArrowheads="1"/>
          </p:cNvSpPr>
          <p:nvPr/>
        </p:nvSpPr>
        <p:spPr bwMode="gray">
          <a:xfrm>
            <a:off x="9252520" y="3038276"/>
            <a:ext cx="360362" cy="360363"/>
          </a:xfrm>
          <a:prstGeom prst="rect">
            <a:avLst/>
          </a:prstGeom>
          <a:solidFill>
            <a:srgbClr val="FADF99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50</a:t>
            </a:r>
          </a:p>
          <a:p>
            <a:pPr algn="ctr"/>
            <a:r>
              <a:rPr lang="en-GB" sz="800" noProof="0" dirty="0"/>
              <a:t>223</a:t>
            </a:r>
          </a:p>
          <a:p>
            <a:pPr algn="ctr"/>
            <a:r>
              <a:rPr lang="en-GB" sz="800" noProof="0" dirty="0"/>
              <a:t>153</a:t>
            </a:r>
            <a:endParaRPr lang="en-GB" noProof="0" dirty="0"/>
          </a:p>
        </p:txBody>
      </p:sp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9252520" y="10914"/>
            <a:ext cx="360362" cy="360363"/>
          </a:xfrm>
          <a:prstGeom prst="rect">
            <a:avLst/>
          </a:prstGeom>
          <a:solidFill>
            <a:srgbClr val="E63F0C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23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63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2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gray">
          <a:xfrm>
            <a:off x="9252520" y="442714"/>
            <a:ext cx="360362" cy="360363"/>
          </a:xfrm>
          <a:prstGeom prst="rect">
            <a:avLst/>
          </a:prstGeom>
          <a:solidFill>
            <a:srgbClr val="EB653D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235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1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61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11" name="Rectangle 26"/>
          <p:cNvSpPr>
            <a:spLocks noChangeArrowheads="1"/>
          </p:cNvSpPr>
          <p:nvPr/>
        </p:nvSpPr>
        <p:spPr bwMode="gray">
          <a:xfrm>
            <a:off x="9252520" y="876102"/>
            <a:ext cx="360362" cy="360362"/>
          </a:xfrm>
          <a:prstGeom prst="rect">
            <a:avLst/>
          </a:prstGeom>
          <a:solidFill>
            <a:srgbClr val="F08C6D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0</a:t>
            </a:r>
          </a:p>
          <a:p>
            <a:pPr algn="ctr"/>
            <a:r>
              <a:rPr lang="en-GB" sz="800" noProof="0" dirty="0"/>
              <a:t>140</a:t>
            </a:r>
          </a:p>
          <a:p>
            <a:pPr algn="ctr"/>
            <a:r>
              <a:rPr lang="en-GB" sz="800" noProof="0" dirty="0"/>
              <a:t>109</a:t>
            </a:r>
            <a:endParaRPr lang="en-GB" noProof="0" dirty="0"/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gray">
          <a:xfrm>
            <a:off x="9252520" y="1307902"/>
            <a:ext cx="360362" cy="360362"/>
          </a:xfrm>
          <a:prstGeom prst="rect">
            <a:avLst/>
          </a:prstGeom>
          <a:solidFill>
            <a:srgbClr val="F5B29E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5</a:t>
            </a:r>
          </a:p>
          <a:p>
            <a:pPr algn="ctr"/>
            <a:r>
              <a:rPr lang="en-GB" sz="800" noProof="0" dirty="0"/>
              <a:t>178</a:t>
            </a:r>
          </a:p>
          <a:p>
            <a:pPr algn="ctr"/>
            <a:r>
              <a:rPr lang="en-GB" sz="800" noProof="0" dirty="0"/>
              <a:t>158</a:t>
            </a:r>
            <a:endParaRPr lang="en-GB" noProof="0" dirty="0"/>
          </a:p>
        </p:txBody>
      </p:sp>
      <p:sp>
        <p:nvSpPr>
          <p:cNvPr id="13" name="Rectangle 28"/>
          <p:cNvSpPr>
            <a:spLocks noChangeArrowheads="1"/>
          </p:cNvSpPr>
          <p:nvPr/>
        </p:nvSpPr>
        <p:spPr bwMode="gray">
          <a:xfrm>
            <a:off x="9252520" y="1741289"/>
            <a:ext cx="360362" cy="360363"/>
          </a:xfrm>
          <a:prstGeom prst="rect">
            <a:avLst/>
          </a:prstGeom>
          <a:solidFill>
            <a:srgbClr val="F2A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GB" sz="800" noProof="0" dirty="0"/>
              <a:t>242</a:t>
            </a:r>
          </a:p>
          <a:p>
            <a:pPr algn="ctr"/>
            <a:r>
              <a:rPr lang="en-GB" sz="800" noProof="0" dirty="0"/>
              <a:t>175</a:t>
            </a:r>
          </a:p>
          <a:p>
            <a:pPr algn="ctr"/>
            <a:r>
              <a:rPr lang="en-GB" sz="800" noProof="0" dirty="0"/>
              <a:t>0</a:t>
            </a:r>
            <a:endParaRPr lang="en-GB" noProof="0" dirty="0"/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gray">
          <a:xfrm>
            <a:off x="9252520" y="2173089"/>
            <a:ext cx="360362" cy="360363"/>
          </a:xfrm>
          <a:prstGeom prst="rect">
            <a:avLst/>
          </a:prstGeom>
          <a:solidFill>
            <a:srgbClr val="F5BF3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5</a:t>
            </a:r>
          </a:p>
          <a:p>
            <a:pPr algn="ctr"/>
            <a:r>
              <a:rPr lang="en-GB" sz="800" noProof="0" dirty="0"/>
              <a:t>191</a:t>
            </a:r>
          </a:p>
          <a:p>
            <a:pPr algn="ctr"/>
            <a:r>
              <a:rPr lang="en-GB" sz="800" noProof="0" dirty="0"/>
              <a:t>51</a:t>
            </a:r>
            <a:endParaRPr lang="en-GB" noProof="0" dirty="0"/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-468560" y="-12105"/>
            <a:ext cx="360362" cy="360363"/>
          </a:xfrm>
          <a:prstGeom prst="rect">
            <a:avLst/>
          </a:prstGeom>
          <a:solidFill>
            <a:srgbClr val="0A286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4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0</a:t>
            </a: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-468560" y="419695"/>
            <a:ext cx="360362" cy="360363"/>
          </a:xfrm>
          <a:prstGeom prst="rect">
            <a:avLst/>
          </a:prstGeom>
          <a:solidFill>
            <a:srgbClr val="3B538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59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83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31</a:t>
            </a:r>
            <a:endParaRPr lang="en-GB" noProof="0" dirty="0"/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-468560" y="853083"/>
            <a:ext cx="360362" cy="360363"/>
          </a:xfrm>
          <a:prstGeom prst="rect">
            <a:avLst/>
          </a:prstGeom>
          <a:solidFill>
            <a:srgbClr val="6C7EA2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8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26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62</a:t>
            </a:r>
            <a:endParaRPr lang="en-GB" noProof="0" dirty="0"/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-468560" y="1284883"/>
            <a:ext cx="360362" cy="360363"/>
          </a:xfrm>
          <a:prstGeom prst="rect">
            <a:avLst/>
          </a:prstGeom>
          <a:solidFill>
            <a:srgbClr val="9DA9C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57</a:t>
            </a:r>
          </a:p>
          <a:p>
            <a:pPr algn="ctr"/>
            <a:r>
              <a:rPr lang="en-GB" sz="800" noProof="0" dirty="0"/>
              <a:t>169</a:t>
            </a:r>
          </a:p>
          <a:p>
            <a:pPr algn="ctr"/>
            <a:r>
              <a:rPr lang="en-GB" sz="800" noProof="0" dirty="0"/>
              <a:t>196</a:t>
            </a:r>
            <a:endParaRPr lang="en-GB" noProof="0" dirty="0"/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-468560" y="2564408"/>
            <a:ext cx="360362" cy="360363"/>
          </a:xfrm>
          <a:prstGeom prst="rect">
            <a:avLst/>
          </a:prstGeom>
          <a:solidFill>
            <a:srgbClr val="84B40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32</a:t>
            </a:r>
          </a:p>
          <a:p>
            <a:pPr algn="ctr"/>
            <a:r>
              <a:rPr lang="en-GB" sz="800" noProof="0" dirty="0"/>
              <a:t>180</a:t>
            </a:r>
          </a:p>
          <a:p>
            <a:pPr algn="ctr"/>
            <a:r>
              <a:rPr lang="en-GB" sz="800" noProof="0" dirty="0"/>
              <a:t>0</a:t>
            </a:r>
            <a:endParaRPr lang="en-GB" noProof="0" dirty="0"/>
          </a:p>
        </p:txBody>
      </p:sp>
      <p:sp>
        <p:nvSpPr>
          <p:cNvPr id="20" name="Rectangle 21"/>
          <p:cNvSpPr>
            <a:spLocks noChangeArrowheads="1"/>
          </p:cNvSpPr>
          <p:nvPr/>
        </p:nvSpPr>
        <p:spPr bwMode="auto">
          <a:xfrm>
            <a:off x="-468560" y="2996208"/>
            <a:ext cx="360362" cy="360363"/>
          </a:xfrm>
          <a:prstGeom prst="rect">
            <a:avLst/>
          </a:prstGeom>
          <a:solidFill>
            <a:srgbClr val="9DC33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57</a:t>
            </a:r>
          </a:p>
          <a:p>
            <a:pPr algn="ctr"/>
            <a:r>
              <a:rPr lang="en-GB" sz="800" noProof="0" dirty="0"/>
              <a:t>195</a:t>
            </a:r>
          </a:p>
          <a:p>
            <a:pPr algn="ctr"/>
            <a:r>
              <a:rPr lang="en-GB" sz="800" noProof="0" dirty="0"/>
              <a:t>51</a:t>
            </a:r>
            <a:endParaRPr lang="en-GB" noProof="0" dirty="0"/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-468560" y="3429596"/>
            <a:ext cx="360362" cy="360362"/>
          </a:xfrm>
          <a:prstGeom prst="rect">
            <a:avLst/>
          </a:prstGeom>
          <a:solidFill>
            <a:srgbClr val="B5D266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81</a:t>
            </a:r>
          </a:p>
          <a:p>
            <a:pPr algn="ctr"/>
            <a:r>
              <a:rPr lang="en-GB" sz="800" noProof="0" dirty="0"/>
              <a:t>210</a:t>
            </a:r>
          </a:p>
          <a:p>
            <a:pPr algn="ctr"/>
            <a:r>
              <a:rPr lang="en-GB" sz="800" noProof="0" dirty="0"/>
              <a:t>102</a:t>
            </a:r>
            <a:endParaRPr lang="en-GB" noProof="0" dirty="0"/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-468560" y="3861396"/>
            <a:ext cx="360362" cy="360362"/>
          </a:xfrm>
          <a:prstGeom prst="rect">
            <a:avLst/>
          </a:prstGeom>
          <a:solidFill>
            <a:srgbClr val="CEE199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06</a:t>
            </a:r>
          </a:p>
          <a:p>
            <a:pPr algn="ctr"/>
            <a:r>
              <a:rPr lang="en-GB" sz="800" noProof="0" dirty="0"/>
              <a:t>225</a:t>
            </a:r>
          </a:p>
          <a:p>
            <a:pPr algn="ctr"/>
            <a:r>
              <a:rPr lang="en-GB" sz="800" noProof="0" dirty="0"/>
              <a:t>153</a:t>
            </a: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-459035" y="1697633"/>
            <a:ext cx="360362" cy="360363"/>
          </a:xfrm>
          <a:prstGeom prst="rect">
            <a:avLst/>
          </a:prstGeom>
          <a:solidFill>
            <a:srgbClr val="CED4E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06</a:t>
            </a:r>
          </a:p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12</a:t>
            </a:r>
          </a:p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24</a:t>
            </a:r>
            <a:endParaRPr lang="en-GB" noProof="0" dirty="0">
              <a:solidFill>
                <a:schemeClr val="tx1"/>
              </a:solidFill>
            </a:endParaRPr>
          </a:p>
        </p:txBody>
      </p:sp>
      <p:sp>
        <p:nvSpPr>
          <p:cNvPr id="24" name="Rectangle 19"/>
          <p:cNvSpPr>
            <a:spLocks noChangeArrowheads="1"/>
          </p:cNvSpPr>
          <p:nvPr/>
        </p:nvSpPr>
        <p:spPr bwMode="auto">
          <a:xfrm>
            <a:off x="-468560" y="2124671"/>
            <a:ext cx="360362" cy="360362"/>
          </a:xfrm>
          <a:prstGeom prst="rect">
            <a:avLst/>
          </a:prstGeom>
          <a:solidFill>
            <a:srgbClr val="E6E9EF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30</a:t>
            </a:r>
          </a:p>
          <a:p>
            <a:pPr algn="ctr"/>
            <a:r>
              <a:rPr lang="en-GB" sz="800" noProof="0" dirty="0"/>
              <a:t>233	</a:t>
            </a:r>
          </a:p>
          <a:p>
            <a:pPr algn="ctr"/>
            <a:r>
              <a:rPr lang="en-GB" sz="800" noProof="0" dirty="0"/>
              <a:t>239</a:t>
            </a:r>
            <a:endParaRPr lang="en-GB" noProof="0" dirty="0"/>
          </a:p>
        </p:txBody>
      </p:sp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-468560" y="4328716"/>
            <a:ext cx="360362" cy="360362"/>
          </a:xfrm>
          <a:prstGeom prst="rect">
            <a:avLst/>
          </a:prstGeom>
          <a:solidFill>
            <a:srgbClr val="E6F0C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800" noProof="0" dirty="0"/>
              <a:t>230</a:t>
            </a:r>
          </a:p>
          <a:p>
            <a:pPr algn="ctr"/>
            <a:r>
              <a:rPr lang="en-GB" sz="800" noProof="0" dirty="0"/>
              <a:t>240</a:t>
            </a:r>
          </a:p>
          <a:p>
            <a:pPr algn="ctr"/>
            <a:r>
              <a:rPr lang="en-GB" sz="800" noProof="0" dirty="0"/>
              <a:t>204</a:t>
            </a: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-468560" y="4778178"/>
            <a:ext cx="360362" cy="360362"/>
          </a:xfrm>
          <a:prstGeom prst="rect">
            <a:avLst/>
          </a:prstGeom>
          <a:solidFill>
            <a:srgbClr val="F2F7E5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GB" sz="800" noProof="0" dirty="0"/>
              <a:t>242</a:t>
            </a:r>
          </a:p>
          <a:p>
            <a:pPr algn="ctr"/>
            <a:r>
              <a:rPr lang="en-GB" sz="800" noProof="0" dirty="0"/>
              <a:t>247</a:t>
            </a:r>
          </a:p>
          <a:p>
            <a:pPr algn="ctr"/>
            <a:r>
              <a:rPr lang="en-GB" sz="800" noProof="0" dirty="0"/>
              <a:t>229</a:t>
            </a:r>
          </a:p>
        </p:txBody>
      </p:sp>
      <p:pic>
        <p:nvPicPr>
          <p:cNvPr id="30" name="Grafik 2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120" y="6167968"/>
            <a:ext cx="571266" cy="2547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4" r:id="rId3"/>
    <p:sldLayoutId id="2147483723" r:id="rId4"/>
    <p:sldLayoutId id="2147483738" r:id="rId5"/>
    <p:sldLayoutId id="2147483725" r:id="rId6"/>
    <p:sldLayoutId id="2147483742" r:id="rId7"/>
    <p:sldLayoutId id="2147483743" r:id="rId8"/>
    <p:sldLayoutId id="2147483727" r:id="rId9"/>
    <p:sldLayoutId id="2147483728" r:id="rId10"/>
    <p:sldLayoutId id="2147483733" r:id="rId11"/>
    <p:sldLayoutId id="2147483737" r:id="rId12"/>
    <p:sldLayoutId id="2147483746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7325" indent="-185738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2pPr>
      <a:lvl3pPr marL="355600" indent="-177800" algn="l" rtl="0" eaLnBrk="1" fontAlgn="base" hangingPunct="1">
        <a:spcBef>
          <a:spcPct val="30000"/>
        </a:spcBef>
        <a:spcAft>
          <a:spcPct val="0"/>
        </a:spcAft>
        <a:buClr>
          <a:schemeClr val="accent3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355600" indent="0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None/>
        <a:defRPr sz="1600">
          <a:solidFill>
            <a:schemeClr val="tx1"/>
          </a:solidFill>
          <a:latin typeface="+mn-lt"/>
        </a:defRPr>
      </a:lvl4pPr>
      <a:lvl5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tx2"/>
          </a:solidFill>
          <a:latin typeface="+mn-lt"/>
        </a:defRPr>
      </a:lvl5pPr>
      <a:lvl6pPr marL="187200" indent="0" algn="l" rtl="0" eaLnBrk="1" fontAlgn="base" hangingPunct="1">
        <a:spcBef>
          <a:spcPts val="0"/>
        </a:spcBef>
        <a:spcAft>
          <a:spcPct val="0"/>
        </a:spcAft>
        <a:buFontTx/>
        <a:buNone/>
        <a:defRPr sz="1600" b="0" baseline="0">
          <a:solidFill>
            <a:schemeClr val="tx1"/>
          </a:solidFill>
          <a:latin typeface="+mn-lt"/>
        </a:defRPr>
      </a:lvl6pPr>
      <a:lvl7pPr marL="187200" indent="-187200" algn="l" rtl="0" eaLnBrk="1" fontAlgn="base" hangingPunct="1">
        <a:spcBef>
          <a:spcPts val="576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7pPr>
      <a:lvl8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8pPr>
      <a:lvl9pPr marL="2379663" indent="-195263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16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89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900113" y="0"/>
            <a:ext cx="7559675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/>
              <a:t>Click to edit 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900113" y="1412874"/>
            <a:ext cx="7559675" cy="46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439863" y="4435200"/>
            <a:ext cx="3598863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00113" y="6310800"/>
            <a:ext cx="21590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  <p:sp>
        <p:nvSpPr>
          <p:cNvPr id="7" name="Rectangle 30"/>
          <p:cNvSpPr>
            <a:spLocks noChangeArrowheads="1"/>
          </p:cNvSpPr>
          <p:nvPr/>
        </p:nvSpPr>
        <p:spPr bwMode="gray">
          <a:xfrm>
            <a:off x="9252520" y="2604889"/>
            <a:ext cx="360362" cy="360362"/>
          </a:xfrm>
          <a:prstGeom prst="rect">
            <a:avLst/>
          </a:prstGeom>
          <a:solidFill>
            <a:srgbClr val="F7CF66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7</a:t>
            </a:r>
          </a:p>
          <a:p>
            <a:pPr algn="ctr"/>
            <a:r>
              <a:rPr lang="en-GB" sz="800" noProof="0" dirty="0"/>
              <a:t>207</a:t>
            </a:r>
          </a:p>
          <a:p>
            <a:pPr algn="ctr"/>
            <a:r>
              <a:rPr lang="en-GB" sz="800" noProof="0" dirty="0"/>
              <a:t>102</a:t>
            </a:r>
            <a:endParaRPr lang="en-GB" noProof="0" dirty="0"/>
          </a:p>
        </p:txBody>
      </p:sp>
      <p:sp>
        <p:nvSpPr>
          <p:cNvPr id="8" name="Rectangle 31"/>
          <p:cNvSpPr>
            <a:spLocks noChangeArrowheads="1"/>
          </p:cNvSpPr>
          <p:nvPr/>
        </p:nvSpPr>
        <p:spPr bwMode="gray">
          <a:xfrm>
            <a:off x="9252520" y="3038276"/>
            <a:ext cx="360362" cy="360363"/>
          </a:xfrm>
          <a:prstGeom prst="rect">
            <a:avLst/>
          </a:prstGeom>
          <a:solidFill>
            <a:srgbClr val="FADF99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50</a:t>
            </a:r>
          </a:p>
          <a:p>
            <a:pPr algn="ctr"/>
            <a:r>
              <a:rPr lang="en-GB" sz="800" noProof="0" dirty="0"/>
              <a:t>223</a:t>
            </a:r>
          </a:p>
          <a:p>
            <a:pPr algn="ctr"/>
            <a:r>
              <a:rPr lang="en-GB" sz="800" noProof="0" dirty="0"/>
              <a:t>153</a:t>
            </a:r>
            <a:endParaRPr lang="en-GB" noProof="0" dirty="0"/>
          </a:p>
        </p:txBody>
      </p:sp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9252520" y="10914"/>
            <a:ext cx="360362" cy="360363"/>
          </a:xfrm>
          <a:prstGeom prst="rect">
            <a:avLst/>
          </a:prstGeom>
          <a:solidFill>
            <a:srgbClr val="E63F0C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23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63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2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gray">
          <a:xfrm>
            <a:off x="9252520" y="442714"/>
            <a:ext cx="360362" cy="360363"/>
          </a:xfrm>
          <a:prstGeom prst="rect">
            <a:avLst/>
          </a:prstGeom>
          <a:solidFill>
            <a:srgbClr val="EB653D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235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1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61</a:t>
            </a:r>
            <a:endParaRPr lang="en-GB" noProof="0" dirty="0">
              <a:solidFill>
                <a:schemeClr val="bg1"/>
              </a:solidFill>
            </a:endParaRPr>
          </a:p>
        </p:txBody>
      </p:sp>
      <p:sp>
        <p:nvSpPr>
          <p:cNvPr id="11" name="Rectangle 26"/>
          <p:cNvSpPr>
            <a:spLocks noChangeArrowheads="1"/>
          </p:cNvSpPr>
          <p:nvPr/>
        </p:nvSpPr>
        <p:spPr bwMode="gray">
          <a:xfrm>
            <a:off x="9252520" y="876102"/>
            <a:ext cx="360362" cy="360362"/>
          </a:xfrm>
          <a:prstGeom prst="rect">
            <a:avLst/>
          </a:prstGeom>
          <a:solidFill>
            <a:srgbClr val="F08C6D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0</a:t>
            </a:r>
          </a:p>
          <a:p>
            <a:pPr algn="ctr"/>
            <a:r>
              <a:rPr lang="en-GB" sz="800" noProof="0" dirty="0"/>
              <a:t>140</a:t>
            </a:r>
          </a:p>
          <a:p>
            <a:pPr algn="ctr"/>
            <a:r>
              <a:rPr lang="en-GB" sz="800" noProof="0" dirty="0"/>
              <a:t>109</a:t>
            </a:r>
            <a:endParaRPr lang="en-GB" noProof="0" dirty="0"/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gray">
          <a:xfrm>
            <a:off x="9252520" y="1307902"/>
            <a:ext cx="360362" cy="360362"/>
          </a:xfrm>
          <a:prstGeom prst="rect">
            <a:avLst/>
          </a:prstGeom>
          <a:solidFill>
            <a:srgbClr val="F5B29E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5</a:t>
            </a:r>
          </a:p>
          <a:p>
            <a:pPr algn="ctr"/>
            <a:r>
              <a:rPr lang="en-GB" sz="800" noProof="0" dirty="0"/>
              <a:t>178</a:t>
            </a:r>
          </a:p>
          <a:p>
            <a:pPr algn="ctr"/>
            <a:r>
              <a:rPr lang="en-GB" sz="800" noProof="0" dirty="0"/>
              <a:t>158</a:t>
            </a:r>
            <a:endParaRPr lang="en-GB" noProof="0" dirty="0"/>
          </a:p>
        </p:txBody>
      </p:sp>
      <p:sp>
        <p:nvSpPr>
          <p:cNvPr id="13" name="Rectangle 28"/>
          <p:cNvSpPr>
            <a:spLocks noChangeArrowheads="1"/>
          </p:cNvSpPr>
          <p:nvPr/>
        </p:nvSpPr>
        <p:spPr bwMode="gray">
          <a:xfrm>
            <a:off x="9252520" y="1741289"/>
            <a:ext cx="360362" cy="360363"/>
          </a:xfrm>
          <a:prstGeom prst="rect">
            <a:avLst/>
          </a:prstGeom>
          <a:solidFill>
            <a:srgbClr val="F2A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GB" sz="800" noProof="0" dirty="0"/>
              <a:t>242</a:t>
            </a:r>
          </a:p>
          <a:p>
            <a:pPr algn="ctr"/>
            <a:r>
              <a:rPr lang="en-GB" sz="800" noProof="0" dirty="0"/>
              <a:t>175</a:t>
            </a:r>
          </a:p>
          <a:p>
            <a:pPr algn="ctr"/>
            <a:r>
              <a:rPr lang="en-GB" sz="800" noProof="0" dirty="0"/>
              <a:t>0</a:t>
            </a:r>
            <a:endParaRPr lang="en-GB" noProof="0" dirty="0"/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gray">
          <a:xfrm>
            <a:off x="9252520" y="2173089"/>
            <a:ext cx="360362" cy="360363"/>
          </a:xfrm>
          <a:prstGeom prst="rect">
            <a:avLst/>
          </a:prstGeom>
          <a:solidFill>
            <a:srgbClr val="F5BF3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45</a:t>
            </a:r>
          </a:p>
          <a:p>
            <a:pPr algn="ctr"/>
            <a:r>
              <a:rPr lang="en-GB" sz="800" noProof="0" dirty="0"/>
              <a:t>191</a:t>
            </a:r>
          </a:p>
          <a:p>
            <a:pPr algn="ctr"/>
            <a:r>
              <a:rPr lang="en-GB" sz="800" noProof="0" dirty="0"/>
              <a:t>51</a:t>
            </a:r>
            <a:endParaRPr lang="en-GB" noProof="0" dirty="0"/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-468560" y="-12105"/>
            <a:ext cx="360362" cy="360363"/>
          </a:xfrm>
          <a:prstGeom prst="rect">
            <a:avLst/>
          </a:prstGeom>
          <a:solidFill>
            <a:srgbClr val="0A286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40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0</a:t>
            </a: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-468560" y="419695"/>
            <a:ext cx="360362" cy="360363"/>
          </a:xfrm>
          <a:prstGeom prst="rect">
            <a:avLst/>
          </a:prstGeom>
          <a:solidFill>
            <a:srgbClr val="3B538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59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83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31</a:t>
            </a:r>
            <a:endParaRPr lang="en-GB" noProof="0" dirty="0"/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-468560" y="853083"/>
            <a:ext cx="360362" cy="360363"/>
          </a:xfrm>
          <a:prstGeom prst="rect">
            <a:avLst/>
          </a:prstGeom>
          <a:solidFill>
            <a:srgbClr val="6C7EA2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08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26</a:t>
            </a:r>
          </a:p>
          <a:p>
            <a:pPr algn="ctr"/>
            <a:r>
              <a:rPr lang="en-GB" sz="800" noProof="0" dirty="0">
                <a:solidFill>
                  <a:schemeClr val="bg1"/>
                </a:solidFill>
              </a:rPr>
              <a:t>162</a:t>
            </a:r>
            <a:endParaRPr lang="en-GB" noProof="0" dirty="0"/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-468560" y="1284883"/>
            <a:ext cx="360362" cy="360363"/>
          </a:xfrm>
          <a:prstGeom prst="rect">
            <a:avLst/>
          </a:prstGeom>
          <a:solidFill>
            <a:srgbClr val="9DA9C4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57</a:t>
            </a:r>
          </a:p>
          <a:p>
            <a:pPr algn="ctr"/>
            <a:r>
              <a:rPr lang="en-GB" sz="800" noProof="0" dirty="0"/>
              <a:t>169</a:t>
            </a:r>
          </a:p>
          <a:p>
            <a:pPr algn="ctr"/>
            <a:r>
              <a:rPr lang="en-GB" sz="800" noProof="0" dirty="0"/>
              <a:t>196</a:t>
            </a:r>
            <a:endParaRPr lang="en-GB" noProof="0" dirty="0"/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-468560" y="2564408"/>
            <a:ext cx="360362" cy="360363"/>
          </a:xfrm>
          <a:prstGeom prst="rect">
            <a:avLst/>
          </a:prstGeom>
          <a:solidFill>
            <a:srgbClr val="84B40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32</a:t>
            </a:r>
          </a:p>
          <a:p>
            <a:pPr algn="ctr"/>
            <a:r>
              <a:rPr lang="en-GB" sz="800" noProof="0" dirty="0"/>
              <a:t>180</a:t>
            </a:r>
          </a:p>
          <a:p>
            <a:pPr algn="ctr"/>
            <a:r>
              <a:rPr lang="en-GB" sz="800" noProof="0" dirty="0"/>
              <a:t>0</a:t>
            </a:r>
            <a:endParaRPr lang="en-GB" noProof="0" dirty="0"/>
          </a:p>
        </p:txBody>
      </p:sp>
      <p:sp>
        <p:nvSpPr>
          <p:cNvPr id="20" name="Rectangle 21"/>
          <p:cNvSpPr>
            <a:spLocks noChangeArrowheads="1"/>
          </p:cNvSpPr>
          <p:nvPr/>
        </p:nvSpPr>
        <p:spPr bwMode="auto">
          <a:xfrm>
            <a:off x="-468560" y="2996208"/>
            <a:ext cx="360362" cy="360363"/>
          </a:xfrm>
          <a:prstGeom prst="rect">
            <a:avLst/>
          </a:prstGeom>
          <a:solidFill>
            <a:srgbClr val="9DC333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57</a:t>
            </a:r>
          </a:p>
          <a:p>
            <a:pPr algn="ctr"/>
            <a:r>
              <a:rPr lang="en-GB" sz="800" noProof="0" dirty="0"/>
              <a:t>195</a:t>
            </a:r>
          </a:p>
          <a:p>
            <a:pPr algn="ctr"/>
            <a:r>
              <a:rPr lang="en-GB" sz="800" noProof="0" dirty="0"/>
              <a:t>51</a:t>
            </a:r>
            <a:endParaRPr lang="en-GB" noProof="0" dirty="0"/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-468560" y="3429596"/>
            <a:ext cx="360362" cy="360362"/>
          </a:xfrm>
          <a:prstGeom prst="rect">
            <a:avLst/>
          </a:prstGeom>
          <a:solidFill>
            <a:srgbClr val="B5D266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181</a:t>
            </a:r>
          </a:p>
          <a:p>
            <a:pPr algn="ctr"/>
            <a:r>
              <a:rPr lang="en-GB" sz="800" noProof="0" dirty="0"/>
              <a:t>210</a:t>
            </a:r>
          </a:p>
          <a:p>
            <a:pPr algn="ctr"/>
            <a:r>
              <a:rPr lang="en-GB" sz="800" noProof="0" dirty="0"/>
              <a:t>102</a:t>
            </a:r>
            <a:endParaRPr lang="en-GB" noProof="0" dirty="0"/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-468560" y="3861396"/>
            <a:ext cx="360362" cy="360362"/>
          </a:xfrm>
          <a:prstGeom prst="rect">
            <a:avLst/>
          </a:prstGeom>
          <a:solidFill>
            <a:srgbClr val="CEE199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06</a:t>
            </a:r>
          </a:p>
          <a:p>
            <a:pPr algn="ctr"/>
            <a:r>
              <a:rPr lang="en-GB" sz="800" noProof="0" dirty="0"/>
              <a:t>225</a:t>
            </a:r>
          </a:p>
          <a:p>
            <a:pPr algn="ctr"/>
            <a:r>
              <a:rPr lang="en-GB" sz="800" noProof="0" dirty="0"/>
              <a:t>153</a:t>
            </a: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-459035" y="1697633"/>
            <a:ext cx="360362" cy="360363"/>
          </a:xfrm>
          <a:prstGeom prst="rect">
            <a:avLst/>
          </a:prstGeom>
          <a:solidFill>
            <a:srgbClr val="CED4E0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06</a:t>
            </a:r>
          </a:p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12</a:t>
            </a:r>
          </a:p>
          <a:p>
            <a:pPr algn="ctr"/>
            <a:r>
              <a:rPr lang="en-GB" sz="800" noProof="0" dirty="0">
                <a:solidFill>
                  <a:schemeClr val="tx1"/>
                </a:solidFill>
              </a:rPr>
              <a:t>224</a:t>
            </a:r>
            <a:endParaRPr lang="en-GB" noProof="0" dirty="0">
              <a:solidFill>
                <a:schemeClr val="tx1"/>
              </a:solidFill>
            </a:endParaRPr>
          </a:p>
        </p:txBody>
      </p:sp>
      <p:sp>
        <p:nvSpPr>
          <p:cNvPr id="24" name="Rectangle 19"/>
          <p:cNvSpPr>
            <a:spLocks noChangeArrowheads="1"/>
          </p:cNvSpPr>
          <p:nvPr/>
        </p:nvSpPr>
        <p:spPr bwMode="auto">
          <a:xfrm>
            <a:off x="-468560" y="2124671"/>
            <a:ext cx="360362" cy="360362"/>
          </a:xfrm>
          <a:prstGeom prst="rect">
            <a:avLst/>
          </a:prstGeom>
          <a:solidFill>
            <a:srgbClr val="E6E9EF"/>
          </a:solidFill>
          <a:ln>
            <a:noFill/>
          </a:ln>
          <a:extLst/>
        </p:spPr>
        <p:txBody>
          <a:bodyPr wrap="none" anchor="ctr"/>
          <a:lstStyle/>
          <a:p>
            <a:pPr algn="ctr"/>
            <a:r>
              <a:rPr lang="en-GB" sz="800" noProof="0" dirty="0"/>
              <a:t>230</a:t>
            </a:r>
          </a:p>
          <a:p>
            <a:pPr algn="ctr"/>
            <a:r>
              <a:rPr lang="en-GB" sz="800" noProof="0" dirty="0"/>
              <a:t>233	</a:t>
            </a:r>
          </a:p>
          <a:p>
            <a:pPr algn="ctr"/>
            <a:r>
              <a:rPr lang="en-GB" sz="800" noProof="0" dirty="0"/>
              <a:t>239</a:t>
            </a:r>
            <a:endParaRPr lang="en-GB" noProof="0" dirty="0"/>
          </a:p>
        </p:txBody>
      </p:sp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-468560" y="4328716"/>
            <a:ext cx="360362" cy="360362"/>
          </a:xfrm>
          <a:prstGeom prst="rect">
            <a:avLst/>
          </a:prstGeom>
          <a:solidFill>
            <a:srgbClr val="E6F0C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800" noProof="0" dirty="0"/>
              <a:t>230</a:t>
            </a:r>
          </a:p>
          <a:p>
            <a:pPr algn="ctr"/>
            <a:r>
              <a:rPr lang="en-GB" sz="800" noProof="0" dirty="0"/>
              <a:t>240</a:t>
            </a:r>
          </a:p>
          <a:p>
            <a:pPr algn="ctr"/>
            <a:r>
              <a:rPr lang="en-GB" sz="800" noProof="0" dirty="0"/>
              <a:t>204</a:t>
            </a: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-468560" y="4778178"/>
            <a:ext cx="360362" cy="360362"/>
          </a:xfrm>
          <a:prstGeom prst="rect">
            <a:avLst/>
          </a:prstGeom>
          <a:solidFill>
            <a:srgbClr val="F2F7E5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GB" sz="800" noProof="0" dirty="0"/>
              <a:t>242</a:t>
            </a:r>
          </a:p>
          <a:p>
            <a:pPr algn="ctr"/>
            <a:r>
              <a:rPr lang="en-GB" sz="800" noProof="0" dirty="0"/>
              <a:t>247</a:t>
            </a:r>
          </a:p>
          <a:p>
            <a:pPr algn="ctr"/>
            <a:r>
              <a:rPr lang="en-GB" sz="800" noProof="0" dirty="0"/>
              <a:t>229</a:t>
            </a:r>
          </a:p>
        </p:txBody>
      </p:sp>
      <p:pic>
        <p:nvPicPr>
          <p:cNvPr id="30" name="Grafik 29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6120" y="6167968"/>
            <a:ext cx="571266" cy="2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008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7325" indent="-185738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2pPr>
      <a:lvl3pPr marL="355600" indent="-177800" algn="l" rtl="0" eaLnBrk="1" fontAlgn="base" hangingPunct="1">
        <a:spcBef>
          <a:spcPct val="30000"/>
        </a:spcBef>
        <a:spcAft>
          <a:spcPct val="0"/>
        </a:spcAft>
        <a:buClr>
          <a:schemeClr val="accent3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355600" indent="0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None/>
        <a:defRPr sz="1600">
          <a:solidFill>
            <a:schemeClr val="tx1"/>
          </a:solidFill>
          <a:latin typeface="+mn-lt"/>
        </a:defRPr>
      </a:lvl4pPr>
      <a:lvl5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tx2"/>
          </a:solidFill>
          <a:latin typeface="+mn-lt"/>
        </a:defRPr>
      </a:lvl5pPr>
      <a:lvl6pPr marL="187200" indent="0" algn="l" rtl="0" eaLnBrk="1" fontAlgn="base" hangingPunct="1">
        <a:spcBef>
          <a:spcPts val="0"/>
        </a:spcBef>
        <a:spcAft>
          <a:spcPct val="0"/>
        </a:spcAft>
        <a:buFontTx/>
        <a:buNone/>
        <a:defRPr sz="1600" b="0" baseline="0">
          <a:solidFill>
            <a:schemeClr val="tx1"/>
          </a:solidFill>
          <a:latin typeface="+mn-lt"/>
        </a:defRPr>
      </a:lvl6pPr>
      <a:lvl7pPr marL="187200" indent="-187200" algn="l" rtl="0" eaLnBrk="1" fontAlgn="base" hangingPunct="1">
        <a:spcBef>
          <a:spcPts val="576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7pPr>
      <a:lvl8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8pPr>
      <a:lvl9pPr marL="2379663" indent="-195263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jpeg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cs-CZ" dirty="0"/>
            </a:br>
            <a:br>
              <a:rPr lang="cs-CZ" dirty="0"/>
            </a:br>
            <a:br>
              <a:rPr lang="cs-CZ" dirty="0"/>
            </a:br>
            <a:br>
              <a:rPr lang="cs-CZ" dirty="0"/>
            </a:br>
            <a:br>
              <a:rPr lang="cs-CZ" dirty="0"/>
            </a:br>
            <a:br>
              <a:rPr lang="cs-CZ" dirty="0"/>
            </a:br>
            <a:br>
              <a:rPr lang="cs-CZ" dirty="0"/>
            </a:br>
            <a:r>
              <a:rPr lang="cs-CZ" dirty="0"/>
              <a:t> 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424512" y="6097336"/>
            <a:ext cx="8466569" cy="349276"/>
          </a:xfrm>
        </p:spPr>
        <p:txBody>
          <a:bodyPr/>
          <a:lstStyle/>
          <a:p>
            <a:pPr lvl="0"/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konstrukce a provoz bytových domů v režimu NZEB, Masarykova kolej, ČVUT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504825" y="2543042"/>
            <a:ext cx="8947785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cs-CZ" sz="2800" b="1" dirty="0">
                <a:solidFill>
                  <a:srgbClr val="0A2864"/>
                </a:solidFill>
              </a:rPr>
              <a:t>Monitorování provozní účinnosti</a:t>
            </a:r>
            <a:endParaRPr lang="cs-CZ" sz="4800" b="1" dirty="0">
              <a:solidFill>
                <a:srgbClr val="0A286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633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2481A9A-D5C6-4A0D-B62B-7894A9962C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575" y="3633225"/>
            <a:ext cx="3102472" cy="2412259"/>
          </a:xfrm>
          <a:prstGeom prst="rect">
            <a:avLst/>
          </a:prstGeom>
        </p:spPr>
      </p:pic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žnosti monitorování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9A9C4AA-D1DC-4D23-B230-49AA05B73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857" y="1489914"/>
            <a:ext cx="481212" cy="1023725"/>
          </a:xfrm>
          <a:prstGeom prst="rect">
            <a:avLst/>
          </a:prstGeom>
        </p:spPr>
      </p:pic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B30D3BC5-63A3-4FB4-A41F-8E11B9F2D511}"/>
              </a:ext>
            </a:extLst>
          </p:cNvPr>
          <p:cNvCxnSpPr>
            <a:cxnSpLocks/>
          </p:cNvCxnSpPr>
          <p:nvPr/>
        </p:nvCxnSpPr>
        <p:spPr bwMode="auto">
          <a:xfrm>
            <a:off x="4280170" y="4921599"/>
            <a:ext cx="4158573" cy="18434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Ovál 11">
            <a:extLst>
              <a:ext uri="{FF2B5EF4-FFF2-40B4-BE49-F238E27FC236}">
                <a16:creationId xmlns:a16="http://schemas.microsoft.com/office/drawing/2014/main" id="{374790E3-DB2F-4BD0-8A10-57EC306F6572}"/>
              </a:ext>
            </a:extLst>
          </p:cNvPr>
          <p:cNvSpPr/>
          <p:nvPr/>
        </p:nvSpPr>
        <p:spPr bwMode="auto">
          <a:xfrm>
            <a:off x="4475455" y="4690614"/>
            <a:ext cx="478770" cy="45957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" name="Rovnoramenný trojúhelník 13">
            <a:extLst>
              <a:ext uri="{FF2B5EF4-FFF2-40B4-BE49-F238E27FC236}">
                <a16:creationId xmlns:a16="http://schemas.microsoft.com/office/drawing/2014/main" id="{D5A57E26-8D9C-4CAF-AEB0-9F9638E195A8}"/>
              </a:ext>
            </a:extLst>
          </p:cNvPr>
          <p:cNvSpPr/>
          <p:nvPr/>
        </p:nvSpPr>
        <p:spPr bwMode="auto">
          <a:xfrm rot="16200000">
            <a:off x="4471668" y="4766896"/>
            <a:ext cx="398103" cy="326464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7097BE4C-A653-4BCD-891C-443FBD67299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307" y="3617579"/>
            <a:ext cx="656082" cy="656082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E283FFA4-055A-4AC5-8BFC-0AD404B6A9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475" y="1396492"/>
            <a:ext cx="1946275" cy="1336727"/>
          </a:xfrm>
          <a:prstGeom prst="rect">
            <a:avLst/>
          </a:prstGeom>
        </p:spPr>
      </p:pic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26D3A776-846E-4F1F-9ACF-D7A92F545131}"/>
              </a:ext>
            </a:extLst>
          </p:cNvPr>
          <p:cNvCxnSpPr>
            <a:cxnSpLocks/>
          </p:cNvCxnSpPr>
          <p:nvPr/>
        </p:nvCxnSpPr>
        <p:spPr bwMode="auto">
          <a:xfrm flipV="1">
            <a:off x="3117480" y="3511685"/>
            <a:ext cx="0" cy="671153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72241757-AE7B-4F73-856A-2C54ADE5AFD2}"/>
              </a:ext>
            </a:extLst>
          </p:cNvPr>
          <p:cNvCxnSpPr>
            <a:cxnSpLocks/>
          </p:cNvCxnSpPr>
          <p:nvPr/>
        </p:nvCxnSpPr>
        <p:spPr bwMode="auto">
          <a:xfrm>
            <a:off x="3120144" y="3511685"/>
            <a:ext cx="4486886" cy="0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Přímá spojnice 26">
            <a:extLst>
              <a:ext uri="{FF2B5EF4-FFF2-40B4-BE49-F238E27FC236}">
                <a16:creationId xmlns:a16="http://schemas.microsoft.com/office/drawing/2014/main" id="{39F02BAD-7348-48FF-97DD-A2CD7EC83474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280170" y="1396492"/>
            <a:ext cx="11114" cy="2115194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825E3EE6-5524-4786-9449-0F1B9785E2CC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943600" y="1403631"/>
            <a:ext cx="11114" cy="2115194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E2C10191-183E-4D0E-A1A9-78F4979DD4A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607030" y="1396492"/>
            <a:ext cx="11114" cy="2115194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9504E7A3-581E-4A17-84FA-0543ED12E122}"/>
              </a:ext>
            </a:extLst>
          </p:cNvPr>
          <p:cNvCxnSpPr>
            <a:cxnSpLocks/>
          </p:cNvCxnSpPr>
          <p:nvPr/>
        </p:nvCxnSpPr>
        <p:spPr bwMode="auto">
          <a:xfrm flipV="1">
            <a:off x="5098915" y="1396493"/>
            <a:ext cx="0" cy="353363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D7F60C1-48F1-4084-ACD4-86E35F1CEE2F}"/>
              </a:ext>
            </a:extLst>
          </p:cNvPr>
          <p:cNvCxnSpPr/>
          <p:nvPr/>
        </p:nvCxnSpPr>
        <p:spPr bwMode="auto">
          <a:xfrm>
            <a:off x="4280170" y="1396492"/>
            <a:ext cx="818745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AFC5AFBD-62AC-4708-978F-7B29C925A3EE}"/>
              </a:ext>
            </a:extLst>
          </p:cNvPr>
          <p:cNvCxnSpPr>
            <a:cxnSpLocks/>
          </p:cNvCxnSpPr>
          <p:nvPr/>
        </p:nvCxnSpPr>
        <p:spPr bwMode="auto">
          <a:xfrm flipV="1">
            <a:off x="6768829" y="1406398"/>
            <a:ext cx="0" cy="353363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1D497435-46B2-4432-9CAE-19B0A531704B}"/>
              </a:ext>
            </a:extLst>
          </p:cNvPr>
          <p:cNvCxnSpPr/>
          <p:nvPr/>
        </p:nvCxnSpPr>
        <p:spPr bwMode="auto">
          <a:xfrm>
            <a:off x="5950084" y="1406397"/>
            <a:ext cx="818745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6912B26F-85E1-4993-9A00-4156B539A921}"/>
              </a:ext>
            </a:extLst>
          </p:cNvPr>
          <p:cNvCxnSpPr>
            <a:cxnSpLocks/>
          </p:cNvCxnSpPr>
          <p:nvPr/>
        </p:nvCxnSpPr>
        <p:spPr bwMode="auto">
          <a:xfrm flipV="1">
            <a:off x="8438743" y="1396493"/>
            <a:ext cx="0" cy="353363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Přímá spojnice 40">
            <a:extLst>
              <a:ext uri="{FF2B5EF4-FFF2-40B4-BE49-F238E27FC236}">
                <a16:creationId xmlns:a16="http://schemas.microsoft.com/office/drawing/2014/main" id="{6D0A51BB-114A-43DD-8E97-1F95C4E11348}"/>
              </a:ext>
            </a:extLst>
          </p:cNvPr>
          <p:cNvCxnSpPr/>
          <p:nvPr/>
        </p:nvCxnSpPr>
        <p:spPr bwMode="auto">
          <a:xfrm>
            <a:off x="7619998" y="1396493"/>
            <a:ext cx="818745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51E852AE-6AB8-4F82-BEEB-2D421762C9B2}"/>
              </a:ext>
            </a:extLst>
          </p:cNvPr>
          <p:cNvCxnSpPr/>
          <p:nvPr/>
        </p:nvCxnSpPr>
        <p:spPr bwMode="auto">
          <a:xfrm flipV="1">
            <a:off x="4128655" y="2923309"/>
            <a:ext cx="0" cy="374073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51001A74-B638-449A-BA4E-E4F568F9FF27}"/>
              </a:ext>
            </a:extLst>
          </p:cNvPr>
          <p:cNvCxnSpPr/>
          <p:nvPr/>
        </p:nvCxnSpPr>
        <p:spPr bwMode="auto">
          <a:xfrm flipV="1">
            <a:off x="5805055" y="2923309"/>
            <a:ext cx="0" cy="374073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E9E8B9D4-9A7E-4B33-AC13-9DB4C1726A84}"/>
              </a:ext>
            </a:extLst>
          </p:cNvPr>
          <p:cNvCxnSpPr/>
          <p:nvPr/>
        </p:nvCxnSpPr>
        <p:spPr bwMode="auto">
          <a:xfrm flipV="1">
            <a:off x="7481455" y="2923309"/>
            <a:ext cx="0" cy="374073"/>
          </a:xfrm>
          <a:prstGeom prst="straightConnector1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C02C822A-4DE2-47E9-8C56-B46AC3D3D723}"/>
              </a:ext>
            </a:extLst>
          </p:cNvPr>
          <p:cNvCxnSpPr>
            <a:cxnSpLocks/>
          </p:cNvCxnSpPr>
          <p:nvPr/>
        </p:nvCxnSpPr>
        <p:spPr bwMode="auto">
          <a:xfrm flipH="1">
            <a:off x="3309910" y="3206260"/>
            <a:ext cx="3905" cy="312637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Ovál 47">
            <a:extLst>
              <a:ext uri="{FF2B5EF4-FFF2-40B4-BE49-F238E27FC236}">
                <a16:creationId xmlns:a16="http://schemas.microsoft.com/office/drawing/2014/main" id="{B47A0CA0-5E58-4C1B-B3CF-17F96D27D102}"/>
              </a:ext>
            </a:extLst>
          </p:cNvPr>
          <p:cNvSpPr/>
          <p:nvPr/>
        </p:nvSpPr>
        <p:spPr bwMode="auto">
          <a:xfrm>
            <a:off x="3172691" y="3131127"/>
            <a:ext cx="282247" cy="22721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T1</a:t>
            </a:r>
          </a:p>
        </p:txBody>
      </p:sp>
      <p:cxnSp>
        <p:nvCxnSpPr>
          <p:cNvPr id="53" name="Přímá spojnice 52">
            <a:extLst>
              <a:ext uri="{FF2B5EF4-FFF2-40B4-BE49-F238E27FC236}">
                <a16:creationId xmlns:a16="http://schemas.microsoft.com/office/drawing/2014/main" id="{3C480D8A-C40A-4DD8-B6BC-C216BA220E58}"/>
              </a:ext>
            </a:extLst>
          </p:cNvPr>
          <p:cNvCxnSpPr>
            <a:cxnSpLocks/>
          </p:cNvCxnSpPr>
          <p:nvPr/>
        </p:nvCxnSpPr>
        <p:spPr bwMode="auto">
          <a:xfrm flipH="1">
            <a:off x="5098915" y="4393607"/>
            <a:ext cx="415845" cy="499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Ovál 53">
            <a:extLst>
              <a:ext uri="{FF2B5EF4-FFF2-40B4-BE49-F238E27FC236}">
                <a16:creationId xmlns:a16="http://schemas.microsoft.com/office/drawing/2014/main" id="{B0BB569D-38EF-4242-8B39-94E2A0433ED0}"/>
              </a:ext>
            </a:extLst>
          </p:cNvPr>
          <p:cNvSpPr/>
          <p:nvPr/>
        </p:nvSpPr>
        <p:spPr bwMode="auto">
          <a:xfrm>
            <a:off x="5235948" y="4279999"/>
            <a:ext cx="282247" cy="22721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T2</a:t>
            </a:r>
          </a:p>
        </p:txBody>
      </p:sp>
      <p:cxnSp>
        <p:nvCxnSpPr>
          <p:cNvPr id="56" name="Přímá spojnice 55">
            <a:extLst>
              <a:ext uri="{FF2B5EF4-FFF2-40B4-BE49-F238E27FC236}">
                <a16:creationId xmlns:a16="http://schemas.microsoft.com/office/drawing/2014/main" id="{CDCE913A-B3F7-44A6-9A0E-672D4E1D662F}"/>
              </a:ext>
            </a:extLst>
          </p:cNvPr>
          <p:cNvCxnSpPr>
            <a:cxnSpLocks/>
          </p:cNvCxnSpPr>
          <p:nvPr/>
        </p:nvCxnSpPr>
        <p:spPr bwMode="auto">
          <a:xfrm flipH="1">
            <a:off x="6776487" y="4374943"/>
            <a:ext cx="415845" cy="499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Ovál 56">
            <a:extLst>
              <a:ext uri="{FF2B5EF4-FFF2-40B4-BE49-F238E27FC236}">
                <a16:creationId xmlns:a16="http://schemas.microsoft.com/office/drawing/2014/main" id="{EFB1B154-7FEA-4252-B1CE-7E6C190C55D2}"/>
              </a:ext>
            </a:extLst>
          </p:cNvPr>
          <p:cNvSpPr/>
          <p:nvPr/>
        </p:nvSpPr>
        <p:spPr bwMode="auto">
          <a:xfrm>
            <a:off x="6913520" y="4261335"/>
            <a:ext cx="282247" cy="22721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T3</a:t>
            </a:r>
          </a:p>
        </p:txBody>
      </p:sp>
      <p:cxnSp>
        <p:nvCxnSpPr>
          <p:cNvPr id="58" name="Přímá spojnice 57">
            <a:extLst>
              <a:ext uri="{FF2B5EF4-FFF2-40B4-BE49-F238E27FC236}">
                <a16:creationId xmlns:a16="http://schemas.microsoft.com/office/drawing/2014/main" id="{E80AA7DA-C360-4103-B900-9DC5C4749D61}"/>
              </a:ext>
            </a:extLst>
          </p:cNvPr>
          <p:cNvCxnSpPr>
            <a:cxnSpLocks/>
          </p:cNvCxnSpPr>
          <p:nvPr/>
        </p:nvCxnSpPr>
        <p:spPr bwMode="auto">
          <a:xfrm flipH="1">
            <a:off x="8442965" y="4374943"/>
            <a:ext cx="415845" cy="499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Ovál 58">
            <a:extLst>
              <a:ext uri="{FF2B5EF4-FFF2-40B4-BE49-F238E27FC236}">
                <a16:creationId xmlns:a16="http://schemas.microsoft.com/office/drawing/2014/main" id="{B633868C-4DF5-4D5F-923A-E3ABF9C65EFF}"/>
              </a:ext>
            </a:extLst>
          </p:cNvPr>
          <p:cNvSpPr/>
          <p:nvPr/>
        </p:nvSpPr>
        <p:spPr bwMode="auto">
          <a:xfrm>
            <a:off x="8579998" y="4261335"/>
            <a:ext cx="282247" cy="22721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05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T4</a:t>
            </a:r>
          </a:p>
        </p:txBody>
      </p:sp>
      <p:pic>
        <p:nvPicPr>
          <p:cNvPr id="12290" name="Picture 2" descr="VÃ½sledek obrÃ¡zku pro umyvadlo">
            <a:extLst>
              <a:ext uri="{FF2B5EF4-FFF2-40B4-BE49-F238E27FC236}">
                <a16:creationId xmlns:a16="http://schemas.microsoft.com/office/drawing/2014/main" id="{A09BC55D-3479-4147-BC7D-6FD1C186A1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3028" y="1521453"/>
            <a:ext cx="620110" cy="49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VÃ½sledek obrÃ¡zku pro umyvadlo">
            <a:extLst>
              <a:ext uri="{FF2B5EF4-FFF2-40B4-BE49-F238E27FC236}">
                <a16:creationId xmlns:a16="http://schemas.microsoft.com/office/drawing/2014/main" id="{8FA99CED-5671-4D80-9D1A-6E6AB9C3B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1928" y="1508247"/>
            <a:ext cx="620110" cy="49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VÃ½sledek obrÃ¡zku pro umyvadlo">
            <a:extLst>
              <a:ext uri="{FF2B5EF4-FFF2-40B4-BE49-F238E27FC236}">
                <a16:creationId xmlns:a16="http://schemas.microsoft.com/office/drawing/2014/main" id="{2A803E62-0E0F-4CD0-A50F-D828A2AB1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3520" y="1466897"/>
            <a:ext cx="620110" cy="49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7669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1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obsah 4">
            <a:extLst>
              <a:ext uri="{FF2B5EF4-FFF2-40B4-BE49-F238E27FC236}">
                <a16:creationId xmlns:a16="http://schemas.microsoft.com/office/drawing/2014/main" id="{0F769600-04AA-4832-8E02-2A1D66522A8D}"/>
              </a:ext>
            </a:extLst>
          </p:cNvPr>
          <p:cNvSpPr txBox="1">
            <a:spLocks/>
          </p:cNvSpPr>
          <p:nvPr/>
        </p:nvSpPr>
        <p:spPr>
          <a:xfrm>
            <a:off x="830445" y="1271016"/>
            <a:ext cx="7911219" cy="521917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sz="14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ařízení pro monitorování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Zástupný symbol pro obsah 4">
            <a:extLst>
              <a:ext uri="{FF2B5EF4-FFF2-40B4-BE49-F238E27FC236}">
                <a16:creationId xmlns:a16="http://schemas.microsoft.com/office/drawing/2014/main" id="{91A82410-EDD4-4DDF-AB30-4D634C52BD48}"/>
              </a:ext>
            </a:extLst>
          </p:cNvPr>
          <p:cNvSpPr txBox="1">
            <a:spLocks/>
          </p:cNvSpPr>
          <p:nvPr/>
        </p:nvSpPr>
        <p:spPr>
          <a:xfrm>
            <a:off x="830445" y="1339896"/>
            <a:ext cx="8103243" cy="402763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aktní provedení – jednoduchá instalace – pouze zdroj 230V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riantně 4 nebo 8 čidel teploty – v příložném provedení</a:t>
            </a:r>
          </a:p>
          <a:p>
            <a:pPr marL="641350" lvl="2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plotní rozsah: - 30°C až + 130°C nebo 0°C až + 400°C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dnoduché rozšíření o měřič tepla 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2" indent="0">
              <a:spcAft>
                <a:spcPts val="600"/>
              </a:spcAft>
              <a:buClr>
                <a:srgbClr val="92D050"/>
              </a:buClr>
              <a:buSzPct val="150000"/>
              <a:buNone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2" indent="0">
              <a:spcAft>
                <a:spcPts val="600"/>
              </a:spcAft>
              <a:buClr>
                <a:srgbClr val="92D050"/>
              </a:buClr>
              <a:buSzPct val="150000"/>
              <a:buNone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  <a:tabLst>
                <a:tab pos="1349375" algn="l"/>
              </a:tabLst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4E43CB74-3F21-45F5-8B76-85896CC06B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373468" y="3053132"/>
            <a:ext cx="4006784" cy="300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910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obsah 4">
            <a:extLst>
              <a:ext uri="{FF2B5EF4-FFF2-40B4-BE49-F238E27FC236}">
                <a16:creationId xmlns:a16="http://schemas.microsoft.com/office/drawing/2014/main" id="{0F769600-04AA-4832-8E02-2A1D66522A8D}"/>
              </a:ext>
            </a:extLst>
          </p:cNvPr>
          <p:cNvSpPr txBox="1">
            <a:spLocks/>
          </p:cNvSpPr>
          <p:nvPr/>
        </p:nvSpPr>
        <p:spPr>
          <a:xfrm>
            <a:off x="830445" y="1271016"/>
            <a:ext cx="7911219" cy="521917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sz="14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Řešení problémů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Zástupný symbol pro obsah 4">
            <a:extLst>
              <a:ext uri="{FF2B5EF4-FFF2-40B4-BE49-F238E27FC236}">
                <a16:creationId xmlns:a16="http://schemas.microsoft.com/office/drawing/2014/main" id="{91A82410-EDD4-4DDF-AB30-4D634C52BD48}"/>
              </a:ext>
            </a:extLst>
          </p:cNvPr>
          <p:cNvSpPr txBox="1">
            <a:spLocks/>
          </p:cNvSpPr>
          <p:nvPr/>
        </p:nvSpPr>
        <p:spPr>
          <a:xfrm>
            <a:off x="830445" y="1339896"/>
            <a:ext cx="8103243" cy="11202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timalizace doby chodu cirkulačního čerpadla</a:t>
            </a:r>
            <a:endParaRPr lang="cs-CZ" altLang="en-US" kern="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Hydraulická“ optimalizace – př. </a:t>
            </a:r>
            <a:r>
              <a:rPr lang="cs-CZ" altLang="en-US" kern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nfoss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TCV (multifunkční termostat. ventil)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  <a:tabLst>
                <a:tab pos="1349375" algn="l"/>
              </a:tabLst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E25BC705-02BE-459E-9215-14EB5FD134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13" y="2280784"/>
            <a:ext cx="7504115" cy="3548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178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nitorování provozní účinnosti plynových kotelen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15263BB0-6022-4700-88F9-983BC93DA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81564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obsah 4">
            <a:extLst>
              <a:ext uri="{FF2B5EF4-FFF2-40B4-BE49-F238E27FC236}">
                <a16:creationId xmlns:a16="http://schemas.microsoft.com/office/drawing/2014/main" id="{0F769600-04AA-4832-8E02-2A1D66522A8D}"/>
              </a:ext>
            </a:extLst>
          </p:cNvPr>
          <p:cNvSpPr txBox="1">
            <a:spLocks/>
          </p:cNvSpPr>
          <p:nvPr/>
        </p:nvSpPr>
        <p:spPr>
          <a:xfrm>
            <a:off x="830445" y="1271016"/>
            <a:ext cx="7911219" cy="521917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sz="14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č monitorovat účinnost kotelen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Zástupný symbol pro obsah 4">
            <a:extLst>
              <a:ext uri="{FF2B5EF4-FFF2-40B4-BE49-F238E27FC236}">
                <a16:creationId xmlns:a16="http://schemas.microsoft.com/office/drawing/2014/main" id="{91A82410-EDD4-4DDF-AB30-4D634C52BD48}"/>
              </a:ext>
            </a:extLst>
          </p:cNvPr>
          <p:cNvSpPr txBox="1">
            <a:spLocks/>
          </p:cNvSpPr>
          <p:nvPr/>
        </p:nvSpPr>
        <p:spPr>
          <a:xfrm>
            <a:off x="830445" y="1339896"/>
            <a:ext cx="8103243" cy="402763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droj tepla je „největším“ zdrojem úspor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islativní povinnost je závislá na výkonu kotelny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Často se měří účinnost „nepřímou metodou“ – ze spalin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Kontrola“ nad prováděnou údržbou a servisy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hled nad investicí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ýpočet se provádí „přímou metodou“ z poměru mezi vytvořeným teplem (topení, ohřev TV) a vypočítaným objemovým spalným teplem (spotřebované množství plynu)</a:t>
            </a:r>
          </a:p>
          <a:p>
            <a:pPr marL="641350" lvl="3" indent="-11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1 m</a:t>
            </a:r>
            <a:r>
              <a:rPr lang="cs-CZ" altLang="en-US" kern="0" baseline="30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= 10,5 kWh</a:t>
            </a:r>
          </a:p>
          <a:p>
            <a:pPr marL="285750" lvl="2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žnost porovnání v delším časovém úseku (např. vliv venkovní teploty)</a:t>
            </a:r>
          </a:p>
          <a:p>
            <a:pPr lvl="2" indent="0">
              <a:spcAft>
                <a:spcPts val="600"/>
              </a:spcAft>
              <a:buClr>
                <a:srgbClr val="92D050"/>
              </a:buClr>
              <a:buSzPct val="150000"/>
              <a:buNone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u="sng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známka: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ystém pouze monitoruje a nezasahuje do řízení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430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Přímá spojnice 29">
            <a:extLst>
              <a:ext uri="{FF2B5EF4-FFF2-40B4-BE49-F238E27FC236}">
                <a16:creationId xmlns:a16="http://schemas.microsoft.com/office/drawing/2014/main" id="{6D44A56B-9FF7-46C9-B545-C892D515B637}"/>
              </a:ext>
            </a:extLst>
          </p:cNvPr>
          <p:cNvCxnSpPr>
            <a:cxnSpLocks/>
          </p:cNvCxnSpPr>
          <p:nvPr/>
        </p:nvCxnSpPr>
        <p:spPr bwMode="auto">
          <a:xfrm>
            <a:off x="3403603" y="3204760"/>
            <a:ext cx="0" cy="1856656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5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ákladní prvky systému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6548FFD-6784-4E51-96B3-D7071B9FA2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56" y="3078377"/>
            <a:ext cx="8933187" cy="3074007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9A9C4AA-D1DC-4D23-B230-49AA05B73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857" y="1489914"/>
            <a:ext cx="481212" cy="1023725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7097BE4C-A653-4BCD-891C-443FBD67299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919" y="4843734"/>
            <a:ext cx="656082" cy="656082"/>
          </a:xfrm>
          <a:prstGeom prst="rect">
            <a:avLst/>
          </a:prstGeom>
        </p:spPr>
      </p:pic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B4D3459D-78F7-42FD-90C9-FA1585B95116}"/>
              </a:ext>
            </a:extLst>
          </p:cNvPr>
          <p:cNvCxnSpPr>
            <a:cxnSpLocks/>
          </p:cNvCxnSpPr>
          <p:nvPr/>
        </p:nvCxnSpPr>
        <p:spPr bwMode="auto">
          <a:xfrm>
            <a:off x="3113843" y="2744818"/>
            <a:ext cx="0" cy="1399032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6EE08B24-3B4C-4AA1-8880-78901221EE04}"/>
              </a:ext>
            </a:extLst>
          </p:cNvPr>
          <p:cNvCxnSpPr>
            <a:cxnSpLocks/>
          </p:cNvCxnSpPr>
          <p:nvPr/>
        </p:nvCxnSpPr>
        <p:spPr bwMode="auto">
          <a:xfrm>
            <a:off x="3113843" y="4133088"/>
            <a:ext cx="803670" cy="0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31CFA86E-746A-4259-BCB2-2EC4E97A7375}"/>
              </a:ext>
            </a:extLst>
          </p:cNvPr>
          <p:cNvCxnSpPr>
            <a:cxnSpLocks/>
          </p:cNvCxnSpPr>
          <p:nvPr/>
        </p:nvCxnSpPr>
        <p:spPr bwMode="auto">
          <a:xfrm>
            <a:off x="3995770" y="2037534"/>
            <a:ext cx="0" cy="1043959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2AEB9DB2-D916-459A-9D08-DA2AB8DAD536}"/>
              </a:ext>
            </a:extLst>
          </p:cNvPr>
          <p:cNvCxnSpPr>
            <a:cxnSpLocks/>
          </p:cNvCxnSpPr>
          <p:nvPr/>
        </p:nvCxnSpPr>
        <p:spPr bwMode="auto">
          <a:xfrm>
            <a:off x="3545402" y="2734056"/>
            <a:ext cx="0" cy="116262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D9BC7A23-1ED7-4ACC-85ED-6276001AD84A}"/>
              </a:ext>
            </a:extLst>
          </p:cNvPr>
          <p:cNvCxnSpPr>
            <a:cxnSpLocks/>
          </p:cNvCxnSpPr>
          <p:nvPr/>
        </p:nvCxnSpPr>
        <p:spPr bwMode="auto">
          <a:xfrm>
            <a:off x="3113843" y="2727459"/>
            <a:ext cx="450472" cy="6597"/>
          </a:xfrm>
          <a:prstGeom prst="line">
            <a:avLst/>
          </a:prstGeom>
          <a:solidFill>
            <a:schemeClr val="bg2"/>
          </a:solidFill>
          <a:ln w="2857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Přímá spojnice 28">
            <a:extLst>
              <a:ext uri="{FF2B5EF4-FFF2-40B4-BE49-F238E27FC236}">
                <a16:creationId xmlns:a16="http://schemas.microsoft.com/office/drawing/2014/main" id="{0EA9A0DC-5C09-44E0-971B-DB7E1867726F}"/>
              </a:ext>
            </a:extLst>
          </p:cNvPr>
          <p:cNvCxnSpPr>
            <a:cxnSpLocks/>
          </p:cNvCxnSpPr>
          <p:nvPr/>
        </p:nvCxnSpPr>
        <p:spPr bwMode="auto">
          <a:xfrm>
            <a:off x="1336964" y="2513639"/>
            <a:ext cx="0" cy="454378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Přímá spojnice 31">
            <a:extLst>
              <a:ext uri="{FF2B5EF4-FFF2-40B4-BE49-F238E27FC236}">
                <a16:creationId xmlns:a16="http://schemas.microsoft.com/office/drawing/2014/main" id="{36DECC02-F945-43B4-ACCF-ECA71D1178F1}"/>
              </a:ext>
            </a:extLst>
          </p:cNvPr>
          <p:cNvCxnSpPr>
            <a:cxnSpLocks/>
          </p:cNvCxnSpPr>
          <p:nvPr/>
        </p:nvCxnSpPr>
        <p:spPr bwMode="auto">
          <a:xfrm flipH="1">
            <a:off x="3279360" y="2968017"/>
            <a:ext cx="8600" cy="205409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CC18487A-8DFD-44F5-80B3-D49E31BA1D9A}"/>
              </a:ext>
            </a:extLst>
          </p:cNvPr>
          <p:cNvCxnSpPr>
            <a:cxnSpLocks/>
          </p:cNvCxnSpPr>
          <p:nvPr/>
        </p:nvCxnSpPr>
        <p:spPr bwMode="auto">
          <a:xfrm flipH="1">
            <a:off x="1336964" y="2968017"/>
            <a:ext cx="2212848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8E21782B-64BD-41DA-AE40-93B5F5D4F2F2}"/>
              </a:ext>
            </a:extLst>
          </p:cNvPr>
          <p:cNvSpPr txBox="1"/>
          <p:nvPr/>
        </p:nvSpPr>
        <p:spPr>
          <a:xfrm>
            <a:off x="1926794" y="2744818"/>
            <a:ext cx="850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050" dirty="0">
                <a:solidFill>
                  <a:schemeClr val="tx2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-bus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3A15EA3D-E0B7-46CE-B6B5-D6F34424C1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9999" y="3611760"/>
            <a:ext cx="656082" cy="656082"/>
          </a:xfrm>
          <a:prstGeom prst="rect">
            <a:avLst/>
          </a:prstGeom>
        </p:spPr>
      </p:pic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553A4AA4-8E24-4158-82E7-B98F2A1E9112}"/>
              </a:ext>
            </a:extLst>
          </p:cNvPr>
          <p:cNvCxnSpPr>
            <a:cxnSpLocks/>
          </p:cNvCxnSpPr>
          <p:nvPr/>
        </p:nvCxnSpPr>
        <p:spPr bwMode="auto">
          <a:xfrm flipH="1">
            <a:off x="2880360" y="2513639"/>
            <a:ext cx="3803904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3F206A2E-B37C-4C85-9C65-08F1B89CC42F}"/>
              </a:ext>
            </a:extLst>
          </p:cNvPr>
          <p:cNvCxnSpPr>
            <a:cxnSpLocks/>
          </p:cNvCxnSpPr>
          <p:nvPr/>
        </p:nvCxnSpPr>
        <p:spPr bwMode="auto">
          <a:xfrm>
            <a:off x="6684264" y="2513639"/>
            <a:ext cx="0" cy="1290265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Obrázek 17">
            <a:extLst>
              <a:ext uri="{FF2B5EF4-FFF2-40B4-BE49-F238E27FC236}">
                <a16:creationId xmlns:a16="http://schemas.microsoft.com/office/drawing/2014/main" id="{1ED37C2A-ED47-4F10-BC95-511B782F3CF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942" y="2815948"/>
            <a:ext cx="629553" cy="459574"/>
          </a:xfrm>
          <a:prstGeom prst="rect">
            <a:avLst/>
          </a:prstGeom>
        </p:spPr>
      </p:pic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03821078-9DCD-4A07-9624-0ED99A6E7803}"/>
              </a:ext>
            </a:extLst>
          </p:cNvPr>
          <p:cNvCxnSpPr>
            <a:cxnSpLocks/>
          </p:cNvCxnSpPr>
          <p:nvPr/>
        </p:nvCxnSpPr>
        <p:spPr bwMode="auto">
          <a:xfrm>
            <a:off x="2880360" y="2513639"/>
            <a:ext cx="0" cy="454378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20466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E0449F-9017-42E7-BE93-D5D82A611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je kotelna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C8595FA-3E32-4A86-96A6-694253309B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9A069BA-1B88-4389-BF69-024F474B9B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8031CC9-76F3-4C4A-8988-561811A138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888" y="1261872"/>
            <a:ext cx="8591631" cy="4417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063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7941F5-1C16-4115-A352-B2DA61F70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1E1FE44-FF80-441C-8445-20AA9EA2BC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0113" y="1412875"/>
            <a:ext cx="7559675" cy="1769237"/>
          </a:xfrm>
        </p:spPr>
        <p:txBody>
          <a:bodyPr/>
          <a:lstStyle/>
          <a:p>
            <a:pPr marL="265113" indent="-265113">
              <a:buClr>
                <a:srgbClr val="92D050"/>
              </a:buClr>
              <a:buSzPct val="150000"/>
            </a:pPr>
            <a:r>
              <a:rPr lang="cs-CZ" sz="1600" b="0" dirty="0">
                <a:solidFill>
                  <a:schemeClr val="tx1"/>
                </a:solidFill>
              </a:rPr>
              <a:t>Zdroj tepla se samostatným kondenzačním kotlem – 35 kW</a:t>
            </a:r>
          </a:p>
          <a:p>
            <a:pPr marL="265113" indent="-265113">
              <a:buClr>
                <a:srgbClr val="92D050"/>
              </a:buClr>
              <a:buSzPct val="150000"/>
            </a:pPr>
            <a:r>
              <a:rPr lang="cs-CZ" sz="1600" b="0" dirty="0">
                <a:solidFill>
                  <a:schemeClr val="tx1"/>
                </a:solidFill>
              </a:rPr>
              <a:t>Ekvitermní regulace</a:t>
            </a:r>
          </a:p>
          <a:p>
            <a:pPr marL="265113" indent="-265113">
              <a:buClr>
                <a:srgbClr val="92D050"/>
              </a:buClr>
              <a:buSzPct val="150000"/>
            </a:pPr>
            <a:r>
              <a:rPr lang="cs-CZ" sz="1600" b="0" dirty="0">
                <a:solidFill>
                  <a:schemeClr val="tx1"/>
                </a:solidFill>
              </a:rPr>
              <a:t>Průměrná účinnost okolo 70%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dirty="0"/>
              <a:t>Měřená účinnost na kotli </a:t>
            </a:r>
            <a:r>
              <a:rPr lang="en-US" dirty="0"/>
              <a:t>&gt; 100</a:t>
            </a:r>
            <a:r>
              <a:rPr lang="cs-CZ" dirty="0"/>
              <a:t>%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endParaRPr lang="cs-CZ" dirty="0"/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dirty="0"/>
          </a:p>
          <a:p>
            <a:pPr>
              <a:buClr>
                <a:srgbClr val="92D050"/>
              </a:buClr>
              <a:buSzPct val="150000"/>
            </a:pPr>
            <a:endParaRPr lang="cs-CZ" sz="1600" b="0" dirty="0">
              <a:solidFill>
                <a:schemeClr val="tx1"/>
              </a:solidFill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9ABF422-4BED-4A91-886D-1EA6B292C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455FF9D-C577-47DE-B10A-BE7F62C02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17</a:t>
            </a:fld>
            <a:endParaRPr lang="en-GB" altLang="de-DE" noProof="0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BDA1E6D-2D74-4CBA-9DD0-B647882014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875" y="3322468"/>
            <a:ext cx="7296150" cy="2847975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9ED71995-F28D-438C-A517-555B56ECD701}"/>
              </a:ext>
            </a:extLst>
          </p:cNvPr>
          <p:cNvSpPr/>
          <p:nvPr/>
        </p:nvSpPr>
        <p:spPr bwMode="auto">
          <a:xfrm>
            <a:off x="4014216" y="3666744"/>
            <a:ext cx="411480" cy="7040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1368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9EC9EE-8B1B-45EC-A5B6-5475D5B5A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48B4E8-126E-4F18-8DE9-EE115D04A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4F0BBDD-3E13-4BA2-9412-86B1FE45C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739" y="1438274"/>
            <a:ext cx="8113521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2971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57CE8412-3916-4F4A-BA0A-2907F6E19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13" y="1412875"/>
            <a:ext cx="5305425" cy="4391025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3C9EC9EE-8B1B-45EC-A5B6-5475D5B5A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FF95B11-80A6-4C34-A071-FC882D7589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57625" y="3960442"/>
            <a:ext cx="747401" cy="654939"/>
          </a:xfrm>
          <a:prstGeom prst="rect">
            <a:avLst/>
          </a:prstGeom>
        </p:spPr>
      </p:pic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48B4E8-126E-4F18-8DE9-EE115D04A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81F92F8-8D66-4D92-8E4E-2A49A15B2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19</a:t>
            </a:fld>
            <a:endParaRPr lang="en-GB" altLang="de-DE" noProof="0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16B018DA-CA98-42BE-9E54-F18CA6ECA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2396" y="3960442"/>
            <a:ext cx="747401" cy="65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96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je kotelna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15263BB0-6022-4700-88F9-983BC93DA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96416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9EC9EE-8B1B-45EC-A5B6-5475D5B5A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48B4E8-126E-4F18-8DE9-EE115D04A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63E08F0-8C48-4B80-A3E6-649FCEFDB2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4387" y="1214163"/>
            <a:ext cx="6810375" cy="520065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6E39B4D7-F62A-439E-B751-7D3E04CB06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3137" y="1885950"/>
            <a:ext cx="5857875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3584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9EC9EE-8B1B-45EC-A5B6-5475D5B5A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48B4E8-126E-4F18-8DE9-EE115D04A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800" b="0" i="0" u="none" strike="noStrike" kern="1200" cap="none" spc="0" normalizeH="0" baseline="0" noProof="0">
                <a:ln>
                  <a:noFill/>
                </a:ln>
                <a:solidFill>
                  <a:srgbClr val="3B5383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</a:rPr>
              <a:t>Date ▪ name of speaker ▪ short title of presentation</a:t>
            </a:r>
            <a:endParaRPr kumimoji="0" lang="en-GB" altLang="de-DE" sz="800" b="0" i="0" u="none" strike="noStrike" kern="1200" cap="none" spc="0" normalizeH="0" baseline="0" noProof="0" dirty="0">
              <a:ln>
                <a:noFill/>
              </a:ln>
              <a:solidFill>
                <a:srgbClr val="3B5383"/>
              </a:solidFill>
              <a:effectLst/>
              <a:uLnTx/>
              <a:uFillTx/>
              <a:latin typeface="Arial" pitchFamily="34" charset="0"/>
              <a:ea typeface="Arial Unicode MS" pitchFamily="34" charset="-128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86F295EE-4922-4E71-9C88-40D345D8E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387" y="1676400"/>
            <a:ext cx="8773231" cy="391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161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9EC9EE-8B1B-45EC-A5B6-5475D5B5A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klad z prax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1348B4E8-126E-4F18-8DE9-EE115D04AE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81F92F8-8D66-4D92-8E4E-2A49A15B2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22</a:t>
            </a:fld>
            <a:endParaRPr lang="en-GB" altLang="de-DE" noProof="0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A695408-AEC1-419B-9878-7DFFA795B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091" y="1178146"/>
            <a:ext cx="5151789" cy="556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6523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4A3CA14-2AF5-4734-B02B-5A9536BEF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817" y="2743200"/>
            <a:ext cx="7559675" cy="1052513"/>
          </a:xfrm>
        </p:spPr>
        <p:txBody>
          <a:bodyPr/>
          <a:lstStyle/>
          <a:p>
            <a:pPr algn="ctr"/>
            <a:r>
              <a:rPr lang="cs-CZ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ěkuji za pozornost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5D4C18E-F13E-4481-B28D-65D84235A4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4258EB2-E0F8-47F6-9925-B1628995A6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23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356021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obsah 4">
            <a:extLst>
              <a:ext uri="{FF2B5EF4-FFF2-40B4-BE49-F238E27FC236}">
                <a16:creationId xmlns:a16="http://schemas.microsoft.com/office/drawing/2014/main" id="{0F769600-04AA-4832-8E02-2A1D66522A8D}"/>
              </a:ext>
            </a:extLst>
          </p:cNvPr>
          <p:cNvSpPr txBox="1">
            <a:spLocks/>
          </p:cNvSpPr>
          <p:nvPr/>
        </p:nvSpPr>
        <p:spPr>
          <a:xfrm>
            <a:off x="900113" y="1458768"/>
            <a:ext cx="8103243" cy="402763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dem </a:t>
            </a:r>
            <a:r>
              <a:rPr lang="cs-CZ" altLang="en-US" kern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vaco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převod mezi M-bus a portálem)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 s datovým tarifem 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ž 8 M-bus zařízení (lze rozšířit)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libovolný“ měřič se sběrnicí M-bus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ěřiče tepla: (</a:t>
            </a:r>
            <a:r>
              <a:rPr lang="cs-CZ" altLang="en-US" kern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sonic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I, </a:t>
            </a:r>
            <a:r>
              <a:rPr lang="cs-CZ" altLang="en-US" kern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ltego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II, …..)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doměry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ěřiče el. energie (1f / 3f)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řevodníky mezi pulsem a M-busem – např. pro plyn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řevodníky na snímače teplot 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tatní převodníky</a:t>
            </a:r>
          </a:p>
          <a:p>
            <a:pPr marL="473075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zhledem k častému posílání dat je nutné modem napájet ze sítě 230V.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ákladní prvky systému - HW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4C4AB4A9-1942-43AC-8364-18DE36115D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2592" y="942785"/>
            <a:ext cx="1554155" cy="3306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160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E0449F-9017-42E7-BE93-D5D82A611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tál www.mojekotelna24.cz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C8595FA-3E32-4A86-96A6-694253309B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9A069BA-1B88-4389-BF69-024F474B9B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FE074-9001-4303-BDC8-13787E9EAF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062" y="1252263"/>
            <a:ext cx="8105775" cy="516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363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E0449F-9017-42E7-BE93-D5D82A611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oje kotelna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C8595FA-3E32-4A86-96A6-694253309B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/>
              <a:t>Date ▪ name of speaker ▪ short title of presentation</a:t>
            </a:r>
            <a:endParaRPr lang="en-GB" altLang="de-DE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9A069BA-1B88-4389-BF69-024F474B9B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5</a:t>
            </a:fld>
            <a:endParaRPr lang="en-GB" altLang="de-DE" noProof="0" dirty="0"/>
          </a:p>
        </p:txBody>
      </p:sp>
      <p:sp>
        <p:nvSpPr>
          <p:cNvPr id="7" name="Zástupný symbol pro obsah 4">
            <a:extLst>
              <a:ext uri="{FF2B5EF4-FFF2-40B4-BE49-F238E27FC236}">
                <a16:creationId xmlns:a16="http://schemas.microsoft.com/office/drawing/2014/main" id="{B590B81D-894F-4953-8290-CB36F73E4BBA}"/>
              </a:ext>
            </a:extLst>
          </p:cNvPr>
          <p:cNvSpPr txBox="1">
            <a:spLocks/>
          </p:cNvSpPr>
          <p:nvPr/>
        </p:nvSpPr>
        <p:spPr>
          <a:xfrm>
            <a:off x="830445" y="1271016"/>
            <a:ext cx="7911219" cy="521917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/>
              <a:t>Export dat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/>
              <a:t>CSV, XLS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/>
              <a:t>Alarmy: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kern="0" dirty="0"/>
              <a:t>E-mail, SMS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kern="0" dirty="0"/>
              <a:t>Teploty a průtoky</a:t>
            </a:r>
          </a:p>
          <a:p>
            <a:pPr marL="895350" lvl="3" indent="-265113"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kern="0" dirty="0"/>
              <a:t>Průměrování, odchylky, časová období, ….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kern="0" dirty="0"/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/>
          </a:p>
          <a:p>
            <a:endParaRPr lang="cs-CZ" altLang="en-US" u="sng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/>
          </a:p>
        </p:txBody>
      </p:sp>
    </p:spTree>
    <p:extLst>
      <p:ext uri="{BB962C8B-B14F-4D97-AF65-F5344CB8AC3E}">
        <p14:creationId xmlns:p14="http://schemas.microsoft.com/office/powerpoint/2010/main" val="1452333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nitorování provozní účinnosti TV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15263BB0-6022-4700-88F9-983BC93DA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135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F8A0797-A257-4235-BD5A-8391352B8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díl spotřeby tepla na vytápění a TV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24D8A49F-F398-4842-B7EE-1EFE63E892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r>
              <a:rPr lang="cs-CZ" sz="1050" dirty="0">
                <a:solidFill>
                  <a:schemeClr val="tx1"/>
                </a:solidFill>
              </a:rPr>
              <a:t>Zdroj: Příprava teplé vody v obytných budovách</a:t>
            </a:r>
          </a:p>
          <a:p>
            <a:pPr marL="0" indent="0">
              <a:buNone/>
            </a:pPr>
            <a:r>
              <a:rPr lang="cs-CZ" sz="1050" b="0" dirty="0">
                <a:solidFill>
                  <a:schemeClr val="tx1"/>
                </a:solidFill>
              </a:rPr>
              <a:t>Datum: 31.10.2016  |  Autor: Ing. Roman Vavřička, Ph.D., ČVUT v Praze, Fakulta strojní, Ústav techniky prostředí, Univerzitní centrum energeticky efektivních budov, ČVUT v Praze, Bc. Matěj Mazur, ČVUT v Praze, Fakulta strojní, Ústav techniky prostředí  |  Recenzent: Ing. Miloš Bajgar</a:t>
            </a:r>
            <a:endParaRPr lang="cs-CZ" sz="1050" dirty="0">
              <a:solidFill>
                <a:schemeClr val="tx1"/>
              </a:solidFill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49CAA08C-1D45-408B-B0FD-02E28F079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22E1851-E2F6-491B-A021-E1A27085FF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/>
              <a:t>Slide </a:t>
            </a:r>
            <a:fld id="{C3B3C88A-3FAA-40A8-AD7B-A50BF5BD6E58}" type="slidenum">
              <a:rPr lang="en-GB" altLang="de-DE" noProof="0" smtClean="0"/>
              <a:pPr/>
              <a:t>7</a:t>
            </a:fld>
            <a:endParaRPr lang="en-GB" altLang="de-DE" noProof="0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D6DAE66-F357-48EA-8CF2-4FBC69D5B4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1196488"/>
            <a:ext cx="6731636" cy="403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4473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obsah 4">
            <a:extLst>
              <a:ext uri="{FF2B5EF4-FFF2-40B4-BE49-F238E27FC236}">
                <a16:creationId xmlns:a16="http://schemas.microsoft.com/office/drawing/2014/main" id="{0F769600-04AA-4832-8E02-2A1D66522A8D}"/>
              </a:ext>
            </a:extLst>
          </p:cNvPr>
          <p:cNvSpPr txBox="1">
            <a:spLocks/>
          </p:cNvSpPr>
          <p:nvPr/>
        </p:nvSpPr>
        <p:spPr>
          <a:xfrm>
            <a:off x="830445" y="1271016"/>
            <a:ext cx="7911219" cy="521917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cs-CZ" altLang="en-US" sz="14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č monitorovat teplou vodu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Zástupný symbol pro obsah 4">
            <a:extLst>
              <a:ext uri="{FF2B5EF4-FFF2-40B4-BE49-F238E27FC236}">
                <a16:creationId xmlns:a16="http://schemas.microsoft.com/office/drawing/2014/main" id="{91A82410-EDD4-4DDF-AB30-4D634C52BD48}"/>
              </a:ext>
            </a:extLst>
          </p:cNvPr>
          <p:cNvSpPr txBox="1">
            <a:spLocks/>
          </p:cNvSpPr>
          <p:nvPr/>
        </p:nvSpPr>
        <p:spPr>
          <a:xfrm>
            <a:off x="830445" y="1339896"/>
            <a:ext cx="8103243" cy="402763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užívá se celý rok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ČSN 06 0320 (ČSN EN 806-2) určuje </a:t>
            </a:r>
          </a:p>
          <a:p>
            <a:pPr marL="895350" lvl="3" indent="-265113">
              <a:spcBef>
                <a:spcPct val="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plotu vody ve stavbách pro bydlení v rozsahu 50 až 55 °C</a:t>
            </a:r>
          </a:p>
          <a:p>
            <a:pPr marL="895350" lvl="3" indent="-265113">
              <a:spcBef>
                <a:spcPct val="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altLang="en-US" kern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 30s od úplného otevření výtokové armatury musí být zajištěna požadovaná teplota vody (objem 3l)</a:t>
            </a:r>
          </a:p>
          <a:p>
            <a:pPr marL="285750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živatel platí za objem a ne teplo</a:t>
            </a:r>
          </a:p>
          <a:p>
            <a:pPr marL="285750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plotní dezinfekce – ochrana proti </a:t>
            </a:r>
            <a:r>
              <a:rPr lang="cs-CZ" altLang="en-US" kern="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gionele</a:t>
            </a: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1" indent="-285750"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tráty dané „nevhodnou“ cirkulací TV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2" indent="0">
              <a:spcAft>
                <a:spcPts val="600"/>
              </a:spcAft>
              <a:buClr>
                <a:srgbClr val="92D050"/>
              </a:buClr>
              <a:buSzPct val="150000"/>
              <a:buNone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2" indent="0">
              <a:spcAft>
                <a:spcPts val="600"/>
              </a:spcAft>
              <a:buClr>
                <a:srgbClr val="92D050"/>
              </a:buClr>
              <a:buSzPct val="150000"/>
              <a:buNone/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  <a:tabLst>
                <a:tab pos="1349375" algn="l"/>
              </a:tabLst>
            </a:pPr>
            <a:r>
              <a:rPr lang="cs-CZ" altLang="en-US" u="sng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známka:</a:t>
            </a: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	systém pouze monitoruje a nezasahuje do řízení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  <a:tabLst>
                <a:tab pos="1349375" algn="l"/>
              </a:tabLst>
            </a:pPr>
            <a:r>
              <a:rPr lang="cs-CZ" altLang="en-US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systém monitoruje teploty každých 15 minut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  <a:tabLst>
                <a:tab pos="1349375" algn="l"/>
              </a:tabLst>
            </a:pPr>
            <a:endParaRPr lang="cs-CZ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61924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02481A9A-D5C6-4A0D-B62B-7894A9962C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575" y="3633225"/>
            <a:ext cx="3102472" cy="2412259"/>
          </a:xfrm>
          <a:prstGeom prst="rect">
            <a:avLst/>
          </a:prstGeom>
        </p:spPr>
      </p:pic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89C6596-5FB3-49C7-AA35-A4E31C44B3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e ▪ name of speaker ▪ short title of presentation</a:t>
            </a:r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5AE554F-A6DA-4B09-9678-0D1D68662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altLang="de-DE" noProof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lide </a:t>
            </a:r>
            <a:fld id="{C3B3C88A-3FAA-40A8-AD7B-A50BF5BD6E58}" type="slidenum">
              <a:rPr lang="en-GB" altLang="de-DE" noProof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9</a:t>
            </a:fld>
            <a:endParaRPr lang="en-GB" altLang="de-DE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Nadpis 3">
            <a:extLst>
              <a:ext uri="{FF2B5EF4-FFF2-40B4-BE49-F238E27FC236}">
                <a16:creationId xmlns:a16="http://schemas.microsoft.com/office/drawing/2014/main" id="{262949E4-7CA1-4277-9FCC-B5482154806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cs-CZ" altLang="en-US" sz="2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žnosti monitorování</a:t>
            </a:r>
            <a:endParaRPr lang="en-US" altLang="en-US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9A9C4AA-D1DC-4D23-B230-49AA05B73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857" y="1489914"/>
            <a:ext cx="481212" cy="1023725"/>
          </a:xfrm>
          <a:prstGeom prst="rect">
            <a:avLst/>
          </a:prstGeom>
        </p:spPr>
      </p:pic>
      <p:cxnSp>
        <p:nvCxnSpPr>
          <p:cNvPr id="29" name="Přímá spojnice 28">
            <a:extLst>
              <a:ext uri="{FF2B5EF4-FFF2-40B4-BE49-F238E27FC236}">
                <a16:creationId xmlns:a16="http://schemas.microsoft.com/office/drawing/2014/main" id="{0EA9A0DC-5C09-44E0-971B-DB7E1867726F}"/>
              </a:ext>
            </a:extLst>
          </p:cNvPr>
          <p:cNvCxnSpPr>
            <a:cxnSpLocks/>
          </p:cNvCxnSpPr>
          <p:nvPr/>
        </p:nvCxnSpPr>
        <p:spPr bwMode="auto">
          <a:xfrm>
            <a:off x="1336964" y="2513639"/>
            <a:ext cx="0" cy="454378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CC18487A-8DFD-44F5-80B3-D49E31BA1D9A}"/>
              </a:ext>
            </a:extLst>
          </p:cNvPr>
          <p:cNvCxnSpPr>
            <a:cxnSpLocks/>
          </p:cNvCxnSpPr>
          <p:nvPr/>
        </p:nvCxnSpPr>
        <p:spPr bwMode="auto">
          <a:xfrm flipH="1">
            <a:off x="1336964" y="2968017"/>
            <a:ext cx="4446907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8E21782B-64BD-41DA-AE40-93B5F5D4F2F2}"/>
              </a:ext>
            </a:extLst>
          </p:cNvPr>
          <p:cNvSpPr txBox="1"/>
          <p:nvPr/>
        </p:nvSpPr>
        <p:spPr>
          <a:xfrm>
            <a:off x="1926794" y="2744818"/>
            <a:ext cx="850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050" dirty="0">
                <a:solidFill>
                  <a:schemeClr val="tx2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-bus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3F206A2E-B37C-4C85-9C65-08F1B89CC42F}"/>
              </a:ext>
            </a:extLst>
          </p:cNvPr>
          <p:cNvCxnSpPr>
            <a:cxnSpLocks/>
          </p:cNvCxnSpPr>
          <p:nvPr/>
        </p:nvCxnSpPr>
        <p:spPr bwMode="auto">
          <a:xfrm>
            <a:off x="5783871" y="2974622"/>
            <a:ext cx="0" cy="1933222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03821078-9DCD-4A07-9624-0ED99A6E7803}"/>
              </a:ext>
            </a:extLst>
          </p:cNvPr>
          <p:cNvCxnSpPr>
            <a:cxnSpLocks/>
          </p:cNvCxnSpPr>
          <p:nvPr/>
        </p:nvCxnSpPr>
        <p:spPr bwMode="auto">
          <a:xfrm>
            <a:off x="1499048" y="2974622"/>
            <a:ext cx="0" cy="982514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B30D3BC5-63A3-4FB4-A41F-8E11B9F2D511}"/>
              </a:ext>
            </a:extLst>
          </p:cNvPr>
          <p:cNvCxnSpPr>
            <a:cxnSpLocks/>
          </p:cNvCxnSpPr>
          <p:nvPr/>
        </p:nvCxnSpPr>
        <p:spPr bwMode="auto">
          <a:xfrm flipV="1">
            <a:off x="4280170" y="4920401"/>
            <a:ext cx="2130358" cy="1197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5" name="Obrázek 24">
            <a:extLst>
              <a:ext uri="{FF2B5EF4-FFF2-40B4-BE49-F238E27FC236}">
                <a16:creationId xmlns:a16="http://schemas.microsoft.com/office/drawing/2014/main" id="{4A23600D-2035-4D86-832D-3E0BDCF45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3010" y="4693008"/>
            <a:ext cx="521723" cy="457180"/>
          </a:xfrm>
          <a:prstGeom prst="rect">
            <a:avLst/>
          </a:prstGeom>
        </p:spPr>
      </p:pic>
      <p:sp>
        <p:nvSpPr>
          <p:cNvPr id="12" name="Ovál 11">
            <a:extLst>
              <a:ext uri="{FF2B5EF4-FFF2-40B4-BE49-F238E27FC236}">
                <a16:creationId xmlns:a16="http://schemas.microsoft.com/office/drawing/2014/main" id="{374790E3-DB2F-4BD0-8A10-57EC306F6572}"/>
              </a:ext>
            </a:extLst>
          </p:cNvPr>
          <p:cNvSpPr/>
          <p:nvPr/>
        </p:nvSpPr>
        <p:spPr bwMode="auto">
          <a:xfrm>
            <a:off x="4475455" y="4690614"/>
            <a:ext cx="478770" cy="459574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" name="Rovnoramenný trojúhelník 13">
            <a:extLst>
              <a:ext uri="{FF2B5EF4-FFF2-40B4-BE49-F238E27FC236}">
                <a16:creationId xmlns:a16="http://schemas.microsoft.com/office/drawing/2014/main" id="{D5A57E26-8D9C-4CAF-AEB0-9F9638E195A8}"/>
              </a:ext>
            </a:extLst>
          </p:cNvPr>
          <p:cNvSpPr/>
          <p:nvPr/>
        </p:nvSpPr>
        <p:spPr bwMode="auto">
          <a:xfrm rot="16200000">
            <a:off x="4471668" y="4766896"/>
            <a:ext cx="398103" cy="326464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7097BE4C-A653-4BCD-891C-443FBD6729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307" y="3617579"/>
            <a:ext cx="656082" cy="656082"/>
          </a:xfrm>
          <a:prstGeom prst="rect">
            <a:avLst/>
          </a:prstGeom>
        </p:spPr>
      </p:pic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764A4DBA-77F8-43F7-AE35-9F2C9876FB01}"/>
              </a:ext>
            </a:extLst>
          </p:cNvPr>
          <p:cNvCxnSpPr/>
          <p:nvPr/>
        </p:nvCxnSpPr>
        <p:spPr bwMode="auto">
          <a:xfrm>
            <a:off x="4350327" y="5680364"/>
            <a:ext cx="1814946" cy="0"/>
          </a:xfrm>
          <a:prstGeom prst="line">
            <a:avLst/>
          </a:prstGeom>
          <a:solidFill>
            <a:schemeClr val="bg2"/>
          </a:solidFill>
          <a:ln w="222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290" name="Picture 2" descr="VÃ½sledek obrÃ¡zku pro domaqua">
            <a:extLst>
              <a:ext uri="{FF2B5EF4-FFF2-40B4-BE49-F238E27FC236}">
                <a16:creationId xmlns:a16="http://schemas.microsoft.com/office/drawing/2014/main" id="{F4BD54E7-12B9-4B27-90E6-648752442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91881">
            <a:off x="4970315" y="5427060"/>
            <a:ext cx="570142" cy="570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C82E6138-2A69-46FD-8A15-873609DC8053}"/>
              </a:ext>
            </a:extLst>
          </p:cNvPr>
          <p:cNvCxnSpPr>
            <a:cxnSpLocks/>
            <a:endCxn id="12290" idx="0"/>
          </p:cNvCxnSpPr>
          <p:nvPr/>
        </p:nvCxnSpPr>
        <p:spPr bwMode="auto">
          <a:xfrm flipH="1">
            <a:off x="5229870" y="2968017"/>
            <a:ext cx="11260" cy="2460187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73306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6&quot; g=&quot;3F&quot; b=&quot;0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_2010_sample_slides">
  <a:themeElements>
    <a:clrScheme name="Benutzerdefiniert 3">
      <a:dk1>
        <a:srgbClr val="000000"/>
      </a:dk1>
      <a:lt1>
        <a:srgbClr val="FFFFFF"/>
      </a:lt1>
      <a:dk2>
        <a:srgbClr val="0A2864"/>
      </a:dk2>
      <a:lt2>
        <a:srgbClr val="9DA9C1"/>
      </a:lt2>
      <a:accent1>
        <a:srgbClr val="9DA9C1"/>
      </a:accent1>
      <a:accent2>
        <a:srgbClr val="0A2864"/>
      </a:accent2>
      <a:accent3>
        <a:srgbClr val="84B400"/>
      </a:accent3>
      <a:accent4>
        <a:srgbClr val="B5D266"/>
      </a:accent4>
      <a:accent5>
        <a:srgbClr val="C2D6AA"/>
      </a:accent5>
      <a:accent6>
        <a:srgbClr val="BACC8A"/>
      </a:accent6>
      <a:hlink>
        <a:srgbClr val="3B5383"/>
      </a:hlink>
      <a:folHlink>
        <a:srgbClr val="9DC333"/>
      </a:folHlink>
    </a:clrScheme>
    <a:fontScheme name="Powerpoint2003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2003_template 1">
        <a:dk1>
          <a:srgbClr val="000000"/>
        </a:dk1>
        <a:lt1>
          <a:srgbClr val="FFFFFF"/>
        </a:lt1>
        <a:dk2>
          <a:srgbClr val="0A2864"/>
        </a:dk2>
        <a:lt2>
          <a:srgbClr val="9DA9C1"/>
        </a:lt2>
        <a:accent1>
          <a:srgbClr val="84B400"/>
        </a:accent1>
        <a:accent2>
          <a:srgbClr val="CEE199"/>
        </a:accent2>
        <a:accent3>
          <a:srgbClr val="FFFFFF"/>
        </a:accent3>
        <a:accent4>
          <a:srgbClr val="000000"/>
        </a:accent4>
        <a:accent5>
          <a:srgbClr val="C2D6AA"/>
        </a:accent5>
        <a:accent6>
          <a:srgbClr val="BACC8A"/>
        </a:accent6>
        <a:hlink>
          <a:srgbClr val="3B5383"/>
        </a:hlink>
        <a:folHlink>
          <a:srgbClr val="9DC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sta_final.pptx" id="{31D9BA79-B518-40FE-A340-6BBA19CC73A2}" vid="{018A3E02-18EE-4E5D-9392-0FA678675016}"/>
    </a:ext>
  </a:extLst>
</a:theme>
</file>

<file path=ppt/theme/theme2.xml><?xml version="1.0" encoding="utf-8"?>
<a:theme xmlns:a="http://schemas.openxmlformats.org/drawingml/2006/main" name="1_Powerpoint_2010_sample_slides">
  <a:themeElements>
    <a:clrScheme name="Benutzerdefiniert 3">
      <a:dk1>
        <a:srgbClr val="000000"/>
      </a:dk1>
      <a:lt1>
        <a:srgbClr val="FFFFFF"/>
      </a:lt1>
      <a:dk2>
        <a:srgbClr val="0A2864"/>
      </a:dk2>
      <a:lt2>
        <a:srgbClr val="9DA9C1"/>
      </a:lt2>
      <a:accent1>
        <a:srgbClr val="9DA9C1"/>
      </a:accent1>
      <a:accent2>
        <a:srgbClr val="0A2864"/>
      </a:accent2>
      <a:accent3>
        <a:srgbClr val="84B400"/>
      </a:accent3>
      <a:accent4>
        <a:srgbClr val="B5D266"/>
      </a:accent4>
      <a:accent5>
        <a:srgbClr val="C2D6AA"/>
      </a:accent5>
      <a:accent6>
        <a:srgbClr val="BACC8A"/>
      </a:accent6>
      <a:hlink>
        <a:srgbClr val="3B5383"/>
      </a:hlink>
      <a:folHlink>
        <a:srgbClr val="9DC333"/>
      </a:folHlink>
    </a:clrScheme>
    <a:fontScheme name="Powerpoint2003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2003_template 1">
        <a:dk1>
          <a:srgbClr val="000000"/>
        </a:dk1>
        <a:lt1>
          <a:srgbClr val="FFFFFF"/>
        </a:lt1>
        <a:dk2>
          <a:srgbClr val="0A2864"/>
        </a:dk2>
        <a:lt2>
          <a:srgbClr val="9DA9C1"/>
        </a:lt2>
        <a:accent1>
          <a:srgbClr val="84B400"/>
        </a:accent1>
        <a:accent2>
          <a:srgbClr val="CEE199"/>
        </a:accent2>
        <a:accent3>
          <a:srgbClr val="FFFFFF"/>
        </a:accent3>
        <a:accent4>
          <a:srgbClr val="000000"/>
        </a:accent4>
        <a:accent5>
          <a:srgbClr val="C2D6AA"/>
        </a:accent5>
        <a:accent6>
          <a:srgbClr val="BACC8A"/>
        </a:accent6>
        <a:hlink>
          <a:srgbClr val="3B5383"/>
        </a:hlink>
        <a:folHlink>
          <a:srgbClr val="9DC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sta_final.pptx" id="{31D9BA79-B518-40FE-A340-6BBA19CC73A2}" vid="{018A3E02-18EE-4E5D-9392-0FA678675016}"/>
    </a:ext>
  </a:ext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EN</Template>
  <TotalTime>2549</TotalTime>
  <Words>669</Words>
  <Application>Microsoft Office PowerPoint</Application>
  <PresentationFormat>Předvádění na obrazovce (4:3)</PresentationFormat>
  <Paragraphs>160</Paragraphs>
  <Slides>23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0" baseType="lpstr">
      <vt:lpstr>Arial</vt:lpstr>
      <vt:lpstr>Arial Unicode MS</vt:lpstr>
      <vt:lpstr>Tahoma</vt:lpstr>
      <vt:lpstr>Wingdings</vt:lpstr>
      <vt:lpstr>Powerpoint_2010_sample_slides</vt:lpstr>
      <vt:lpstr>1_Powerpoint_2010_sample_slides</vt:lpstr>
      <vt:lpstr>think-cell Folie</vt:lpstr>
      <vt:lpstr>        </vt:lpstr>
      <vt:lpstr>Moje kotelna</vt:lpstr>
      <vt:lpstr>Základní prvky systému - HW</vt:lpstr>
      <vt:lpstr>Portál www.mojekotelna24.cz</vt:lpstr>
      <vt:lpstr>Moje kotelna</vt:lpstr>
      <vt:lpstr>Monitorování provozní účinnosti TV</vt:lpstr>
      <vt:lpstr>Podíl spotřeby tepla na vytápění a TV</vt:lpstr>
      <vt:lpstr>Proč monitorovat teplou vodu</vt:lpstr>
      <vt:lpstr>Možnosti monitorování</vt:lpstr>
      <vt:lpstr>Možnosti monitorování</vt:lpstr>
      <vt:lpstr>Zařízení pro monitorování</vt:lpstr>
      <vt:lpstr>Řešení problémů</vt:lpstr>
      <vt:lpstr>Monitorování provozní účinnosti plynových kotelen</vt:lpstr>
      <vt:lpstr>Proč monitorovat účinnost kotelen</vt:lpstr>
      <vt:lpstr>Základní prvky systému</vt:lpstr>
      <vt:lpstr>Moje kotelna</vt:lpstr>
      <vt:lpstr>Příklad z praxe</vt:lpstr>
      <vt:lpstr>Příklad z praxe</vt:lpstr>
      <vt:lpstr>Příklad z praxe</vt:lpstr>
      <vt:lpstr>Příklad z praxe</vt:lpstr>
      <vt:lpstr>Příklad z praxe</vt:lpstr>
      <vt:lpstr>Příklad z praxe</vt:lpstr>
      <vt:lpstr>Děkuji za pozornost</vt:lpstr>
    </vt:vector>
  </TitlesOfParts>
  <Company>ista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 quamquam a sumus  Hortensio, clarissimo viro</dc:title>
  <dc:creator>samek</dc:creator>
  <cp:lastModifiedBy>samek</cp:lastModifiedBy>
  <cp:revision>153</cp:revision>
  <cp:lastPrinted>2018-05-17T14:27:33Z</cp:lastPrinted>
  <dcterms:created xsi:type="dcterms:W3CDTF">2017-07-03T07:00:11Z</dcterms:created>
  <dcterms:modified xsi:type="dcterms:W3CDTF">2018-11-14T07:19:35Z</dcterms:modified>
</cp:coreProperties>
</file>